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5"/>
  </p:notesMasterIdLst>
  <p:sldIdLst>
    <p:sldId id="2868" r:id="rId2"/>
    <p:sldId id="2867" r:id="rId3"/>
    <p:sldId id="2869" r:id="rId4"/>
  </p:sldIdLst>
  <p:sldSz cx="12195175" cy="6859588"/>
  <p:notesSz cx="6819900" cy="9918700"/>
  <p:defaultTextStyle>
    <a:defPPr>
      <a:defRPr lang="en-US"/>
    </a:defPPr>
    <a:lvl1pPr marL="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4438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8877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3316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77552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721940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66328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810716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355104" algn="l" defTabSz="108877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34">
          <p15:clr>
            <a:srgbClr val="A4A3A4"/>
          </p15:clr>
        </p15:guide>
        <p15:guide id="2" orient="horz" pos="843">
          <p15:clr>
            <a:srgbClr val="A4A3A4"/>
          </p15:clr>
        </p15:guide>
        <p15:guide id="3" orient="horz" pos="686">
          <p15:clr>
            <a:srgbClr val="A4A3A4"/>
          </p15:clr>
        </p15:guide>
        <p15:guide id="4" pos="7283">
          <p15:clr>
            <a:srgbClr val="A4A3A4"/>
          </p15:clr>
        </p15:guide>
        <p15:guide id="5" pos="41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70" autoAdjust="0"/>
    <p:restoredTop sz="94660"/>
  </p:normalViewPr>
  <p:slideViewPr>
    <p:cSldViewPr snapToGrid="0" showGuides="1">
      <p:cViewPr varScale="1">
        <p:scale>
          <a:sx n="73" d="100"/>
          <a:sy n="73" d="100"/>
        </p:scale>
        <p:origin x="246" y="66"/>
      </p:cViewPr>
      <p:guideLst>
        <p:guide orient="horz" pos="3634"/>
        <p:guide orient="horz" pos="843"/>
        <p:guide orient="horz" pos="686"/>
        <p:guide pos="7283"/>
        <p:guide pos="41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chemeClr val="accent2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6D76-4B2C-8389-7274FEE8151B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0.41</c:v>
                </c:pt>
                <c:pt idx="1">
                  <c:v>0.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D76-4B2C-8389-7274FEE815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fi-FI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63032" y="0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A8032-89EB-4D13-922A-D9DAB7321F09}" type="datetimeFigureOut">
              <a:rPr lang="sv-SE" smtClean="0"/>
              <a:t>2019-09-17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44538"/>
            <a:ext cx="6610350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990" y="4711383"/>
            <a:ext cx="5455920" cy="446341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1044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63032" y="9421044"/>
            <a:ext cx="2955290" cy="4959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61AA99-6AE6-4252-9D49-BFACABC8D97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181776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61AA99-6AE6-4252-9D49-BFACABC8D97C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44956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bjective of slide: To gi</a:t>
            </a:r>
            <a:r>
              <a:rPr lang="en-GB" baseline="0" dirty="0"/>
              <a:t>ve an insight of some of the key numbers and thereby create some pride in working for one of the largest banks in Europe</a:t>
            </a:r>
            <a:endParaRPr lang="en-GB" dirty="0"/>
          </a:p>
          <a:p>
            <a:endParaRPr lang="en-GB" dirty="0"/>
          </a:p>
          <a:p>
            <a:r>
              <a:rPr lang="en-GB" dirty="0"/>
              <a:t>We are not</a:t>
            </a:r>
            <a:r>
              <a:rPr lang="en-GB" baseline="0" dirty="0"/>
              <a:t> only the largest bank in the Nordics, but also in Northern Europe.</a:t>
            </a:r>
          </a:p>
          <a:p>
            <a:endParaRPr lang="en-GB" baseline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We are a top 10 universal bank in Europe measured on Market ca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We have almost 11 million customer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baseline="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baseline="0" dirty="0"/>
              <a:t>Takeaway: We are part of one of the largest banks in Europe and we should be proud of tha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61AA99-6AE6-4252-9D49-BFACABC8D97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6423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8263"/>
            <a:ext cx="7200000" cy="750221"/>
          </a:xfrm>
        </p:spPr>
        <p:txBody>
          <a:bodyPr>
            <a:noAutofit/>
          </a:bodyPr>
          <a:lstStyle>
            <a:lvl1pPr>
              <a:defRPr sz="24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13365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rgbClr val="FFFFFF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  <a:endParaRPr lang="en-GB" dirty="0"/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8326438" y="2854325"/>
            <a:ext cx="3995737" cy="400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17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7" name="Logotype"/>
          <p:cNvGrpSpPr/>
          <p:nvPr userDrawn="1"/>
        </p:nvGrpSpPr>
        <p:grpSpPr>
          <a:xfrm>
            <a:off x="641350" y="530890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28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4857287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8067600" y="1332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5" hasCustomPrompt="1"/>
          </p:nvPr>
        </p:nvSpPr>
        <p:spPr>
          <a:xfrm>
            <a:off x="4359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8067600" y="3636000"/>
            <a:ext cx="3492000" cy="21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1295806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0" y="1980000"/>
            <a:ext cx="10908000" cy="37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6600" y="397565"/>
            <a:ext cx="7200000" cy="943998"/>
          </a:xfrm>
        </p:spPr>
        <p:txBody>
          <a:bodyPr>
            <a:noAutofit/>
          </a:bodyPr>
          <a:lstStyle>
            <a:lvl1pPr algn="ctr">
              <a:defRPr sz="30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496600" y="1485578"/>
            <a:ext cx="7200000" cy="36044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Click to add subtit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8936735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96600" y="397565"/>
            <a:ext cx="7200000" cy="943998"/>
          </a:xfrm>
        </p:spPr>
        <p:txBody>
          <a:bodyPr>
            <a:noAutofit/>
          </a:bodyPr>
          <a:lstStyle>
            <a:lvl1pPr algn="ctr">
              <a:defRPr sz="30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496600" y="1485578"/>
            <a:ext cx="7200000" cy="360446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Click to add subtitle</a:t>
            </a:r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2407371" y="1989634"/>
            <a:ext cx="1746000" cy="19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  <a:endParaRPr lang="en-GB" dirty="0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368800" y="1989634"/>
            <a:ext cx="3489325" cy="3024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  <a:endParaRPr lang="en-GB" dirty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8064000" y="1989634"/>
            <a:ext cx="2556000" cy="1980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7" hasCustomPrompt="1"/>
          </p:nvPr>
        </p:nvSpPr>
        <p:spPr>
          <a:xfrm>
            <a:off x="8064000" y="4149874"/>
            <a:ext cx="1692000" cy="1332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5540998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Heading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  <a:noFill/>
        </p:spPr>
        <p:txBody>
          <a:bodyPr anchor="ctr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333450"/>
            <a:ext cx="7200000" cy="1009078"/>
          </a:xfrm>
        </p:spPr>
        <p:txBody>
          <a:bodyPr>
            <a:noAutofit/>
          </a:bodyPr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1510482"/>
            <a:ext cx="7200000" cy="68524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29" name="Line"/>
          <p:cNvCxnSpPr/>
          <p:nvPr userDrawn="1"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rgbClr val="8B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Logotype"/>
          <p:cNvGrpSpPr/>
          <p:nvPr userDrawn="1"/>
        </p:nvGrpSpPr>
        <p:grpSpPr>
          <a:xfrm>
            <a:off x="10689465" y="6389301"/>
            <a:ext cx="863687" cy="180102"/>
            <a:chOff x="9501453" y="6148765"/>
            <a:chExt cx="2047875" cy="427037"/>
          </a:xfrm>
        </p:grpSpPr>
        <p:sp>
          <p:nvSpPr>
            <p:cNvPr id="16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32889395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7200000" cy="74880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13365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  <a:endParaRPr lang="en-GB" dirty="0"/>
          </a:p>
        </p:txBody>
      </p:sp>
      <p:grpSp>
        <p:nvGrpSpPr>
          <p:cNvPr id="10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9" name="Logotype"/>
          <p:cNvGrpSpPr/>
          <p:nvPr userDrawn="1"/>
        </p:nvGrpSpPr>
        <p:grpSpPr>
          <a:xfrm>
            <a:off x="641350" y="530890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20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16754241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lse Patter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7200000" cy="748800"/>
          </a:xfrm>
        </p:spPr>
        <p:txBody>
          <a:bodyPr>
            <a:noAutofit/>
          </a:bodyPr>
          <a:lstStyle>
            <a:lvl1pPr>
              <a:defRPr sz="24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133650"/>
            <a:ext cx="7200000" cy="360083"/>
          </a:xfrm>
        </p:spPr>
        <p:txBody>
          <a:bodyPr/>
          <a:lstStyle>
            <a:lvl1pPr marL="0" indent="0" algn="l">
              <a:buNone/>
              <a:defRPr b="1">
                <a:solidFill>
                  <a:srgbClr val="FFFFFF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  <a:endParaRPr lang="en-GB" dirty="0"/>
          </a:p>
        </p:txBody>
      </p:sp>
      <p:grpSp>
        <p:nvGrpSpPr>
          <p:cNvPr id="60" name="Pulse"/>
          <p:cNvGrpSpPr/>
          <p:nvPr userDrawn="1"/>
        </p:nvGrpSpPr>
        <p:grpSpPr>
          <a:xfrm>
            <a:off x="0" y="2990850"/>
            <a:ext cx="12204000" cy="3559175"/>
            <a:chOff x="0" y="2990850"/>
            <a:chExt cx="12204700" cy="3559175"/>
          </a:xfrm>
          <a:solidFill>
            <a:srgbClr val="0000FF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182086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9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1211263" y="4605338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447675" y="4105275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0529888" y="3994150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09491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8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3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1183938" y="3144838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7742238" y="4083050"/>
              <a:ext cx="434975" cy="1092200"/>
            </a:xfrm>
            <a:custGeom>
              <a:avLst/>
              <a:gdLst>
                <a:gd name="T0" fmla="*/ 69 w 137"/>
                <a:gd name="T1" fmla="*/ 13 h 343"/>
                <a:gd name="T2" fmla="*/ 124 w 137"/>
                <a:gd name="T3" fmla="*/ 68 h 343"/>
                <a:gd name="T4" fmla="*/ 124 w 137"/>
                <a:gd name="T5" fmla="*/ 274 h 343"/>
                <a:gd name="T6" fmla="*/ 69 w 137"/>
                <a:gd name="T7" fmla="*/ 329 h 343"/>
                <a:gd name="T8" fmla="*/ 14 w 137"/>
                <a:gd name="T9" fmla="*/ 274 h 343"/>
                <a:gd name="T10" fmla="*/ 14 w 137"/>
                <a:gd name="T11" fmla="*/ 68 h 343"/>
                <a:gd name="T12" fmla="*/ 69 w 137"/>
                <a:gd name="T13" fmla="*/ 13 h 343"/>
                <a:gd name="T14" fmla="*/ 69 w 137"/>
                <a:gd name="T15" fmla="*/ 0 h 343"/>
                <a:gd name="T16" fmla="*/ 69 w 137"/>
                <a:gd name="T17" fmla="*/ 0 h 343"/>
                <a:gd name="T18" fmla="*/ 0 w 137"/>
                <a:gd name="T19" fmla="*/ 68 h 343"/>
                <a:gd name="T20" fmla="*/ 0 w 137"/>
                <a:gd name="T21" fmla="*/ 274 h 343"/>
                <a:gd name="T22" fmla="*/ 69 w 137"/>
                <a:gd name="T23" fmla="*/ 343 h 343"/>
                <a:gd name="T24" fmla="*/ 137 w 137"/>
                <a:gd name="T25" fmla="*/ 274 h 343"/>
                <a:gd name="T26" fmla="*/ 137 w 137"/>
                <a:gd name="T27" fmla="*/ 68 h 343"/>
                <a:gd name="T28" fmla="*/ 69 w 137"/>
                <a:gd name="T29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7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7" y="312"/>
                    <a:pt x="137" y="274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2"/>
            <p:cNvSpPr>
              <a:spLocks/>
            </p:cNvSpPr>
            <p:nvPr userDrawn="1"/>
          </p:nvSpPr>
          <p:spPr bwMode="auto">
            <a:xfrm>
              <a:off x="9480550" y="4605338"/>
              <a:ext cx="439738" cy="1092200"/>
            </a:xfrm>
            <a:custGeom>
              <a:avLst/>
              <a:gdLst>
                <a:gd name="T0" fmla="*/ 69 w 138"/>
                <a:gd name="T1" fmla="*/ 343 h 343"/>
                <a:gd name="T2" fmla="*/ 69 w 138"/>
                <a:gd name="T3" fmla="*/ 343 h 343"/>
                <a:gd name="T4" fmla="*/ 0 w 138"/>
                <a:gd name="T5" fmla="*/ 275 h 343"/>
                <a:gd name="T6" fmla="*/ 0 w 138"/>
                <a:gd name="T7" fmla="*/ 69 h 343"/>
                <a:gd name="T8" fmla="*/ 69 w 138"/>
                <a:gd name="T9" fmla="*/ 0 h 343"/>
                <a:gd name="T10" fmla="*/ 138 w 138"/>
                <a:gd name="T11" fmla="*/ 69 h 343"/>
                <a:gd name="T12" fmla="*/ 138 w 138"/>
                <a:gd name="T13" fmla="*/ 275 h 343"/>
                <a:gd name="T14" fmla="*/ 69 w 138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8" y="31"/>
                    <a:pt x="138" y="69"/>
                  </a:cubicBezTo>
                  <a:cubicBezTo>
                    <a:pt x="138" y="275"/>
                    <a:pt x="138" y="275"/>
                    <a:pt x="138" y="275"/>
                  </a:cubicBezTo>
                  <a:cubicBezTo>
                    <a:pt x="138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13"/>
            <p:cNvSpPr>
              <a:spLocks noEditPoints="1"/>
            </p:cNvSpPr>
            <p:nvPr userDrawn="1"/>
          </p:nvSpPr>
          <p:spPr bwMode="auto">
            <a:xfrm>
              <a:off x="83978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8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8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14"/>
            <p:cNvSpPr>
              <a:spLocks noEditPoints="1"/>
            </p:cNvSpPr>
            <p:nvPr userDrawn="1"/>
          </p:nvSpPr>
          <p:spPr bwMode="auto">
            <a:xfrm>
              <a:off x="1951038" y="4083050"/>
              <a:ext cx="439738" cy="1092200"/>
            </a:xfrm>
            <a:custGeom>
              <a:avLst/>
              <a:gdLst>
                <a:gd name="T0" fmla="*/ 69 w 138"/>
                <a:gd name="T1" fmla="*/ 13 h 343"/>
                <a:gd name="T2" fmla="*/ 124 w 138"/>
                <a:gd name="T3" fmla="*/ 68 h 343"/>
                <a:gd name="T4" fmla="*/ 124 w 138"/>
                <a:gd name="T5" fmla="*/ 274 h 343"/>
                <a:gd name="T6" fmla="*/ 69 w 138"/>
                <a:gd name="T7" fmla="*/ 329 h 343"/>
                <a:gd name="T8" fmla="*/ 14 w 138"/>
                <a:gd name="T9" fmla="*/ 274 h 343"/>
                <a:gd name="T10" fmla="*/ 14 w 138"/>
                <a:gd name="T11" fmla="*/ 68 h 343"/>
                <a:gd name="T12" fmla="*/ 69 w 138"/>
                <a:gd name="T13" fmla="*/ 13 h 343"/>
                <a:gd name="T14" fmla="*/ 69 w 138"/>
                <a:gd name="T15" fmla="*/ 0 h 343"/>
                <a:gd name="T16" fmla="*/ 0 w 138"/>
                <a:gd name="T17" fmla="*/ 68 h 343"/>
                <a:gd name="T18" fmla="*/ 0 w 138"/>
                <a:gd name="T19" fmla="*/ 274 h 343"/>
                <a:gd name="T20" fmla="*/ 69 w 138"/>
                <a:gd name="T21" fmla="*/ 343 h 343"/>
                <a:gd name="T22" fmla="*/ 138 w 138"/>
                <a:gd name="T23" fmla="*/ 274 h 343"/>
                <a:gd name="T24" fmla="*/ 138 w 138"/>
                <a:gd name="T25" fmla="*/ 68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8" y="312"/>
                    <a:pt x="138" y="274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5"/>
            <p:cNvSpPr>
              <a:spLocks noEditPoints="1"/>
            </p:cNvSpPr>
            <p:nvPr userDrawn="1"/>
          </p:nvSpPr>
          <p:spPr bwMode="auto">
            <a:xfrm>
              <a:off x="26066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9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9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16"/>
            <p:cNvSpPr>
              <a:spLocks/>
            </p:cNvSpPr>
            <p:nvPr userDrawn="1"/>
          </p:nvSpPr>
          <p:spPr bwMode="auto">
            <a:xfrm>
              <a:off x="8718550" y="4105275"/>
              <a:ext cx="546100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17"/>
            <p:cNvSpPr>
              <a:spLocks noEditPoints="1"/>
            </p:cNvSpPr>
            <p:nvPr userDrawn="1"/>
          </p:nvSpPr>
          <p:spPr bwMode="auto">
            <a:xfrm>
              <a:off x="4465638" y="3841750"/>
              <a:ext cx="438150" cy="1092200"/>
            </a:xfrm>
            <a:custGeom>
              <a:avLst/>
              <a:gdLst>
                <a:gd name="T0" fmla="*/ 69 w 138"/>
                <a:gd name="T1" fmla="*/ 14 h 343"/>
                <a:gd name="T2" fmla="*/ 124 w 138"/>
                <a:gd name="T3" fmla="*/ 69 h 343"/>
                <a:gd name="T4" fmla="*/ 124 w 138"/>
                <a:gd name="T5" fmla="*/ 275 h 343"/>
                <a:gd name="T6" fmla="*/ 69 w 138"/>
                <a:gd name="T7" fmla="*/ 330 h 343"/>
                <a:gd name="T8" fmla="*/ 14 w 138"/>
                <a:gd name="T9" fmla="*/ 275 h 343"/>
                <a:gd name="T10" fmla="*/ 14 w 138"/>
                <a:gd name="T11" fmla="*/ 69 h 343"/>
                <a:gd name="T12" fmla="*/ 69 w 138"/>
                <a:gd name="T13" fmla="*/ 14 h 343"/>
                <a:gd name="T14" fmla="*/ 69 w 138"/>
                <a:gd name="T15" fmla="*/ 0 h 343"/>
                <a:gd name="T16" fmla="*/ 0 w 138"/>
                <a:gd name="T17" fmla="*/ 69 h 343"/>
                <a:gd name="T18" fmla="*/ 0 w 138"/>
                <a:gd name="T19" fmla="*/ 275 h 343"/>
                <a:gd name="T20" fmla="*/ 69 w 138"/>
                <a:gd name="T21" fmla="*/ 343 h 343"/>
                <a:gd name="T22" fmla="*/ 138 w 138"/>
                <a:gd name="T23" fmla="*/ 275 h 343"/>
                <a:gd name="T24" fmla="*/ 138 w 138"/>
                <a:gd name="T25" fmla="*/ 69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4"/>
                  </a:moveTo>
                  <a:cubicBezTo>
                    <a:pt x="99" y="14"/>
                    <a:pt x="124" y="39"/>
                    <a:pt x="124" y="69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24" y="305"/>
                    <a:pt x="99" y="330"/>
                    <a:pt x="69" y="330"/>
                  </a:cubicBezTo>
                  <a:cubicBezTo>
                    <a:pt x="39" y="330"/>
                    <a:pt x="14" y="305"/>
                    <a:pt x="14" y="275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4" y="39"/>
                    <a:pt x="39" y="14"/>
                    <a:pt x="69" y="14"/>
                  </a:cubicBezTo>
                  <a:moveTo>
                    <a:pt x="69" y="0"/>
                  </a:moveTo>
                  <a:cubicBezTo>
                    <a:pt x="31" y="0"/>
                    <a:pt x="0" y="31"/>
                    <a:pt x="0" y="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313"/>
                    <a:pt x="31" y="343"/>
                    <a:pt x="69" y="343"/>
                  </a:cubicBezTo>
                  <a:cubicBezTo>
                    <a:pt x="107" y="343"/>
                    <a:pt x="138" y="313"/>
                    <a:pt x="138" y="275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31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18"/>
            <p:cNvSpPr>
              <a:spLocks/>
            </p:cNvSpPr>
            <p:nvPr userDrawn="1"/>
          </p:nvSpPr>
          <p:spPr bwMode="auto">
            <a:xfrm>
              <a:off x="7259638" y="4475163"/>
              <a:ext cx="260350" cy="436563"/>
            </a:xfrm>
            <a:custGeom>
              <a:avLst/>
              <a:gdLst>
                <a:gd name="T0" fmla="*/ 41 w 82"/>
                <a:gd name="T1" fmla="*/ 137 h 137"/>
                <a:gd name="T2" fmla="*/ 41 w 82"/>
                <a:gd name="T3" fmla="*/ 137 h 137"/>
                <a:gd name="T4" fmla="*/ 0 w 82"/>
                <a:gd name="T5" fmla="*/ 96 h 137"/>
                <a:gd name="T6" fmla="*/ 0 w 82"/>
                <a:gd name="T7" fmla="*/ 41 h 137"/>
                <a:gd name="T8" fmla="*/ 41 w 82"/>
                <a:gd name="T9" fmla="*/ 0 h 137"/>
                <a:gd name="T10" fmla="*/ 82 w 82"/>
                <a:gd name="T11" fmla="*/ 41 h 137"/>
                <a:gd name="T12" fmla="*/ 82 w 82"/>
                <a:gd name="T13" fmla="*/ 96 h 137"/>
                <a:gd name="T14" fmla="*/ 41 w 82"/>
                <a:gd name="T15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7">
                  <a:moveTo>
                    <a:pt x="41" y="137"/>
                  </a:moveTo>
                  <a:cubicBezTo>
                    <a:pt x="41" y="137"/>
                    <a:pt x="41" y="137"/>
                    <a:pt x="41" y="137"/>
                  </a:cubicBezTo>
                  <a:cubicBezTo>
                    <a:pt x="18" y="137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7"/>
                    <a:pt x="41" y="1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19"/>
            <p:cNvSpPr>
              <a:spLocks noEditPoints="1"/>
            </p:cNvSpPr>
            <p:nvPr userDrawn="1"/>
          </p:nvSpPr>
          <p:spPr bwMode="auto">
            <a:xfrm>
              <a:off x="4030663" y="4475163"/>
              <a:ext cx="260350" cy="436563"/>
            </a:xfrm>
            <a:custGeom>
              <a:avLst/>
              <a:gdLst>
                <a:gd name="T0" fmla="*/ 41 w 82"/>
                <a:gd name="T1" fmla="*/ 14 h 137"/>
                <a:gd name="T2" fmla="*/ 69 w 82"/>
                <a:gd name="T3" fmla="*/ 41 h 137"/>
                <a:gd name="T4" fmla="*/ 69 w 82"/>
                <a:gd name="T5" fmla="*/ 96 h 137"/>
                <a:gd name="T6" fmla="*/ 41 w 82"/>
                <a:gd name="T7" fmla="*/ 124 h 137"/>
                <a:gd name="T8" fmla="*/ 14 w 82"/>
                <a:gd name="T9" fmla="*/ 96 h 137"/>
                <a:gd name="T10" fmla="*/ 14 w 82"/>
                <a:gd name="T11" fmla="*/ 41 h 137"/>
                <a:gd name="T12" fmla="*/ 41 w 82"/>
                <a:gd name="T13" fmla="*/ 14 h 137"/>
                <a:gd name="T14" fmla="*/ 41 w 82"/>
                <a:gd name="T15" fmla="*/ 0 h 137"/>
                <a:gd name="T16" fmla="*/ 0 w 82"/>
                <a:gd name="T17" fmla="*/ 41 h 137"/>
                <a:gd name="T18" fmla="*/ 0 w 82"/>
                <a:gd name="T19" fmla="*/ 96 h 137"/>
                <a:gd name="T20" fmla="*/ 41 w 82"/>
                <a:gd name="T21" fmla="*/ 137 h 137"/>
                <a:gd name="T22" fmla="*/ 82 w 82"/>
                <a:gd name="T23" fmla="*/ 96 h 137"/>
                <a:gd name="T24" fmla="*/ 82 w 82"/>
                <a:gd name="T25" fmla="*/ 41 h 137"/>
                <a:gd name="T26" fmla="*/ 41 w 82"/>
                <a:gd name="T2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137">
                  <a:moveTo>
                    <a:pt x="41" y="14"/>
                  </a:moveTo>
                  <a:cubicBezTo>
                    <a:pt x="56" y="14"/>
                    <a:pt x="69" y="26"/>
                    <a:pt x="69" y="41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69" y="112"/>
                    <a:pt x="56" y="124"/>
                    <a:pt x="41" y="124"/>
                  </a:cubicBezTo>
                  <a:cubicBezTo>
                    <a:pt x="26" y="124"/>
                    <a:pt x="14" y="112"/>
                    <a:pt x="14" y="96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26"/>
                    <a:pt x="26" y="14"/>
                    <a:pt x="41" y="14"/>
                  </a:cubicBezTo>
                  <a:moveTo>
                    <a:pt x="41" y="0"/>
                  </a:moveTo>
                  <a:cubicBezTo>
                    <a:pt x="19" y="0"/>
                    <a:pt x="0" y="19"/>
                    <a:pt x="0" y="4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19"/>
                    <a:pt x="19" y="137"/>
                    <a:pt x="41" y="137"/>
                  </a:cubicBezTo>
                  <a:cubicBezTo>
                    <a:pt x="64" y="137"/>
                    <a:pt x="82" y="119"/>
                    <a:pt x="82" y="96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19"/>
                    <a:pt x="64" y="0"/>
                    <a:pt x="4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20"/>
            <p:cNvSpPr>
              <a:spLocks/>
            </p:cNvSpPr>
            <p:nvPr userDrawn="1"/>
          </p:nvSpPr>
          <p:spPr bwMode="auto">
            <a:xfrm>
              <a:off x="6648450" y="4452938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8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0" y="0"/>
                    <a:pt x="68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21"/>
            <p:cNvSpPr>
              <a:spLocks/>
            </p:cNvSpPr>
            <p:nvPr userDrawn="1"/>
          </p:nvSpPr>
          <p:spPr bwMode="auto">
            <a:xfrm>
              <a:off x="5119688" y="2990850"/>
              <a:ext cx="547688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22"/>
            <p:cNvSpPr>
              <a:spLocks/>
            </p:cNvSpPr>
            <p:nvPr userDrawn="1"/>
          </p:nvSpPr>
          <p:spPr bwMode="auto">
            <a:xfrm>
              <a:off x="5886450" y="3952875"/>
              <a:ext cx="542925" cy="2444750"/>
            </a:xfrm>
            <a:custGeom>
              <a:avLst/>
              <a:gdLst>
                <a:gd name="T0" fmla="*/ 85 w 171"/>
                <a:gd name="T1" fmla="*/ 768 h 768"/>
                <a:gd name="T2" fmla="*/ 85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5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5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5" y="768"/>
                  </a:moveTo>
                  <a:cubicBezTo>
                    <a:pt x="85" y="768"/>
                    <a:pt x="85" y="768"/>
                    <a:pt x="85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5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23"/>
            <p:cNvSpPr>
              <a:spLocks/>
            </p:cNvSpPr>
            <p:nvPr userDrawn="1"/>
          </p:nvSpPr>
          <p:spPr bwMode="auto">
            <a:xfrm>
              <a:off x="3790950" y="4716463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4 h 343"/>
                <a:gd name="T6" fmla="*/ 0 w 137"/>
                <a:gd name="T7" fmla="*/ 68 h 343"/>
                <a:gd name="T8" fmla="*/ 68 w 137"/>
                <a:gd name="T9" fmla="*/ 0 h 343"/>
                <a:gd name="T10" fmla="*/ 137 w 137"/>
                <a:gd name="T11" fmla="*/ 68 h 343"/>
                <a:gd name="T12" fmla="*/ 137 w 137"/>
                <a:gd name="T13" fmla="*/ 274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2"/>
                    <a:pt x="0" y="27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0"/>
                    <a:pt x="30" y="0"/>
                    <a:pt x="68" y="0"/>
                  </a:cubicBezTo>
                  <a:cubicBezTo>
                    <a:pt x="106" y="0"/>
                    <a:pt x="137" y="30"/>
                    <a:pt x="137" y="68"/>
                  </a:cubicBezTo>
                  <a:cubicBezTo>
                    <a:pt x="137" y="274"/>
                    <a:pt x="137" y="274"/>
                    <a:pt x="137" y="274"/>
                  </a:cubicBezTo>
                  <a:cubicBezTo>
                    <a:pt x="137" y="312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24"/>
            <p:cNvSpPr>
              <a:spLocks/>
            </p:cNvSpPr>
            <p:nvPr userDrawn="1"/>
          </p:nvSpPr>
          <p:spPr bwMode="auto">
            <a:xfrm>
              <a:off x="3028950" y="3841750"/>
              <a:ext cx="542925" cy="2447925"/>
            </a:xfrm>
            <a:custGeom>
              <a:avLst/>
              <a:gdLst>
                <a:gd name="T0" fmla="*/ 85 w 171"/>
                <a:gd name="T1" fmla="*/ 769 h 769"/>
                <a:gd name="T2" fmla="*/ 85 w 171"/>
                <a:gd name="T3" fmla="*/ 769 h 769"/>
                <a:gd name="T4" fmla="*/ 0 w 171"/>
                <a:gd name="T5" fmla="*/ 683 h 769"/>
                <a:gd name="T6" fmla="*/ 0 w 171"/>
                <a:gd name="T7" fmla="*/ 86 h 769"/>
                <a:gd name="T8" fmla="*/ 85 w 171"/>
                <a:gd name="T9" fmla="*/ 0 h 769"/>
                <a:gd name="T10" fmla="*/ 171 w 171"/>
                <a:gd name="T11" fmla="*/ 86 h 769"/>
                <a:gd name="T12" fmla="*/ 171 w 171"/>
                <a:gd name="T13" fmla="*/ 683 h 769"/>
                <a:gd name="T14" fmla="*/ 85 w 171"/>
                <a:gd name="T15" fmla="*/ 769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9">
                  <a:moveTo>
                    <a:pt x="85" y="769"/>
                  </a:moveTo>
                  <a:cubicBezTo>
                    <a:pt x="85" y="769"/>
                    <a:pt x="85" y="769"/>
                    <a:pt x="85" y="769"/>
                  </a:cubicBezTo>
                  <a:cubicBezTo>
                    <a:pt x="38" y="769"/>
                    <a:pt x="0" y="730"/>
                    <a:pt x="0" y="6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3" y="0"/>
                    <a:pt x="171" y="39"/>
                    <a:pt x="171" y="86"/>
                  </a:cubicBezTo>
                  <a:cubicBezTo>
                    <a:pt x="171" y="683"/>
                    <a:pt x="171" y="683"/>
                    <a:pt x="171" y="683"/>
                  </a:cubicBezTo>
                  <a:cubicBezTo>
                    <a:pt x="171" y="730"/>
                    <a:pt x="133" y="769"/>
                    <a:pt x="85" y="76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25"/>
            <p:cNvSpPr>
              <a:spLocks/>
            </p:cNvSpPr>
            <p:nvPr userDrawn="1"/>
          </p:nvSpPr>
          <p:spPr bwMode="auto">
            <a:xfrm>
              <a:off x="0" y="3148013"/>
              <a:ext cx="228600" cy="2438400"/>
            </a:xfrm>
            <a:custGeom>
              <a:avLst/>
              <a:gdLst>
                <a:gd name="T0" fmla="*/ 0 w 72"/>
                <a:gd name="T1" fmla="*/ 0 h 766"/>
                <a:gd name="T2" fmla="*/ 0 w 72"/>
                <a:gd name="T3" fmla="*/ 766 h 766"/>
                <a:gd name="T4" fmla="*/ 72 w 72"/>
                <a:gd name="T5" fmla="*/ 681 h 766"/>
                <a:gd name="T6" fmla="*/ 72 w 72"/>
                <a:gd name="T7" fmla="*/ 84 h 766"/>
                <a:gd name="T8" fmla="*/ 0 w 72"/>
                <a:gd name="T9" fmla="*/ 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66">
                  <a:moveTo>
                    <a:pt x="0" y="0"/>
                  </a:moveTo>
                  <a:cubicBezTo>
                    <a:pt x="0" y="766"/>
                    <a:pt x="0" y="766"/>
                    <a:pt x="0" y="766"/>
                  </a:cubicBezTo>
                  <a:cubicBezTo>
                    <a:pt x="41" y="759"/>
                    <a:pt x="72" y="724"/>
                    <a:pt x="72" y="681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42"/>
                    <a:pt x="41" y="6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26"/>
            <p:cNvSpPr>
              <a:spLocks/>
            </p:cNvSpPr>
            <p:nvPr userDrawn="1"/>
          </p:nvSpPr>
          <p:spPr bwMode="auto">
            <a:xfrm>
              <a:off x="11950700" y="4105275"/>
              <a:ext cx="254000" cy="2444750"/>
            </a:xfrm>
            <a:custGeom>
              <a:avLst/>
              <a:gdLst>
                <a:gd name="T0" fmla="*/ 80 w 80"/>
                <a:gd name="T1" fmla="*/ 0 h 768"/>
                <a:gd name="T2" fmla="*/ 0 w 80"/>
                <a:gd name="T3" fmla="*/ 85 h 768"/>
                <a:gd name="T4" fmla="*/ 0 w 80"/>
                <a:gd name="T5" fmla="*/ 682 h 768"/>
                <a:gd name="T6" fmla="*/ 80 w 80"/>
                <a:gd name="T7" fmla="*/ 768 h 768"/>
                <a:gd name="T8" fmla="*/ 80 w 80"/>
                <a:gd name="T9" fmla="*/ 0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768">
                  <a:moveTo>
                    <a:pt x="80" y="0"/>
                  </a:moveTo>
                  <a:cubicBezTo>
                    <a:pt x="36" y="2"/>
                    <a:pt x="0" y="39"/>
                    <a:pt x="0" y="85"/>
                  </a:cubicBezTo>
                  <a:cubicBezTo>
                    <a:pt x="0" y="682"/>
                    <a:pt x="0" y="682"/>
                    <a:pt x="0" y="682"/>
                  </a:cubicBezTo>
                  <a:cubicBezTo>
                    <a:pt x="0" y="728"/>
                    <a:pt x="36" y="766"/>
                    <a:pt x="80" y="768"/>
                  </a:cubicBez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1" name="Logotype"/>
          <p:cNvGrpSpPr/>
          <p:nvPr userDrawn="1"/>
        </p:nvGrpSpPr>
        <p:grpSpPr>
          <a:xfrm>
            <a:off x="641350" y="530890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32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6420787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8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</p:spPr>
        <p:txBody>
          <a:bodyPr anchor="ctr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 or use as pink slid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7200000" cy="748800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13365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2592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2844000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  <a:endParaRPr lang="en-GB" dirty="0"/>
          </a:p>
        </p:txBody>
      </p:sp>
      <p:grpSp>
        <p:nvGrpSpPr>
          <p:cNvPr id="10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9" name="Logotype"/>
          <p:cNvGrpSpPr/>
          <p:nvPr userDrawn="1"/>
        </p:nvGrpSpPr>
        <p:grpSpPr>
          <a:xfrm>
            <a:off x="641350" y="530890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20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23867210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0" y="939600"/>
            <a:ext cx="12193200" cy="38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4783756"/>
            <a:ext cx="7200000" cy="626850"/>
          </a:xfrm>
        </p:spPr>
        <p:txBody>
          <a:bodyPr>
            <a:noAutofit/>
          </a:bodyPr>
          <a:lstStyle>
            <a:lvl1pPr>
              <a:defRPr sz="24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543600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5914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6166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-1" y="939600"/>
            <a:ext cx="12204000" cy="3816350"/>
          </a:xfrm>
          <a:noFill/>
        </p:spPr>
        <p:txBody>
          <a:bodyPr anchor="ctr" anchorCtr="0"/>
          <a:lstStyle>
            <a:lvl1pPr marL="0" marR="0" indent="0" algn="ctr" defTabSz="1088776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</a:t>
            </a:r>
            <a:endParaRPr lang="en-GB" dirty="0"/>
          </a:p>
        </p:txBody>
      </p:sp>
      <p:grpSp>
        <p:nvGrpSpPr>
          <p:cNvPr id="16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8" name="Logotype"/>
          <p:cNvGrpSpPr/>
          <p:nvPr userDrawn="1"/>
        </p:nvGrpSpPr>
        <p:grpSpPr>
          <a:xfrm>
            <a:off x="5371674" y="298072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29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08035909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Pink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3200" cy="6859588"/>
          </a:xfrm>
          <a:prstGeom prst="rect">
            <a:avLst/>
          </a:prstGeom>
          <a:solidFill>
            <a:srgbClr val="FDEC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939600"/>
            <a:ext cx="12193200" cy="381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 hasCustomPrompt="1"/>
          </p:nvPr>
        </p:nvSpPr>
        <p:spPr>
          <a:xfrm>
            <a:off x="-1" y="940414"/>
            <a:ext cx="12204000" cy="3816350"/>
          </a:xfrm>
          <a:noFill/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4775994"/>
            <a:ext cx="7200000" cy="63461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5436000"/>
            <a:ext cx="7200000" cy="360083"/>
          </a:xfrm>
        </p:spPr>
        <p:txBody>
          <a:bodyPr>
            <a:noAutofit/>
          </a:bodyPr>
          <a:lstStyle>
            <a:lvl1pPr marL="0" indent="0" algn="l">
              <a:buNone/>
              <a:defRPr b="1">
                <a:solidFill>
                  <a:schemeClr val="tx2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48000" y="5914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0" y="6166122"/>
            <a:ext cx="7200000" cy="216000"/>
          </a:xfrm>
        </p:spPr>
        <p:txBody>
          <a:bodyPr>
            <a:noAutofit/>
          </a:bodyPr>
          <a:lstStyle>
            <a:lvl1pPr marL="0" indent="0">
              <a:buNone/>
              <a:defRPr sz="1300">
                <a:solidFill>
                  <a:schemeClr val="tx2"/>
                </a:solidFill>
              </a:defRPr>
            </a:lvl1pPr>
            <a:lvl2pPr marL="257191" indent="0">
              <a:buNone/>
              <a:defRPr>
                <a:solidFill>
                  <a:schemeClr val="accent2"/>
                </a:solidFill>
              </a:defRPr>
            </a:lvl2pPr>
            <a:lvl3pPr marL="514382" indent="0">
              <a:buNone/>
              <a:defRPr>
                <a:solidFill>
                  <a:schemeClr val="accent2"/>
                </a:solidFill>
              </a:defRPr>
            </a:lvl3pPr>
            <a:lvl4pPr marL="771574" indent="0">
              <a:buNone/>
              <a:defRPr>
                <a:solidFill>
                  <a:schemeClr val="accent2"/>
                </a:solidFill>
              </a:defRPr>
            </a:lvl4pPr>
            <a:lvl5pPr marL="102876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Date</a:t>
            </a:r>
            <a:endParaRPr lang="en-GB" dirty="0"/>
          </a:p>
        </p:txBody>
      </p:sp>
      <p:grpSp>
        <p:nvGrpSpPr>
          <p:cNvPr id="16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3" name="Logotype"/>
          <p:cNvGrpSpPr/>
          <p:nvPr userDrawn="1"/>
        </p:nvGrpSpPr>
        <p:grpSpPr>
          <a:xfrm>
            <a:off x="5371674" y="298072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34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386733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018" y="1089026"/>
            <a:ext cx="8402188" cy="999458"/>
          </a:xfrm>
        </p:spPr>
        <p:txBody>
          <a:bodyPr anchor="b" anchorCtr="0">
            <a:noAutofit/>
          </a:bodyPr>
          <a:lstStyle>
            <a:lvl1pPr algn="ctr">
              <a:defRPr sz="2900" b="1" cap="none" baseline="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872018" y="2160500"/>
            <a:ext cx="8402188" cy="720167"/>
          </a:xfrm>
        </p:spPr>
        <p:txBody>
          <a:bodyPr anchor="t" anchorCtr="0">
            <a:noAutofit/>
          </a:bodyPr>
          <a:lstStyle>
            <a:lvl1pPr marL="0" indent="0" algn="ctr">
              <a:buNone/>
              <a:defRPr sz="1900" b="1">
                <a:solidFill>
                  <a:schemeClr val="accent2"/>
                </a:solidFill>
              </a:defRPr>
            </a:lvl1pPr>
            <a:lvl2pPr marL="544388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8877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3316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17755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72194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266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81071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35510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grpSp>
        <p:nvGrpSpPr>
          <p:cNvPr id="11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041862772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0865806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ivider Pulse Pattern">
    <p:bg>
      <p:bgPr>
        <a:solidFill>
          <a:srgbClr val="FDEC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3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5175" cy="6859588"/>
          </a:xfrm>
        </p:spPr>
        <p:txBody>
          <a:bodyPr anchor="ctr" anchorCtr="0"/>
          <a:lstStyle>
            <a:lvl1pPr marL="0" marR="0" indent="0" algn="ctr" defTabSz="1088776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picture by using Nordea Image Bank button or use as pink slid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018" y="1090800"/>
            <a:ext cx="8402188" cy="1000800"/>
          </a:xfrm>
        </p:spPr>
        <p:txBody>
          <a:bodyPr anchor="b" anchorCtr="0">
            <a:noAutofit/>
          </a:bodyPr>
          <a:lstStyle>
            <a:lvl1pPr algn="ctr">
              <a:defRPr sz="2900" b="1" cap="none" baseline="0">
                <a:solidFill>
                  <a:schemeClr val="bg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872018" y="2160500"/>
            <a:ext cx="8402188" cy="720167"/>
          </a:xfrm>
        </p:spPr>
        <p:txBody>
          <a:bodyPr anchor="t" anchorCtr="0">
            <a:noAutofit/>
          </a:bodyPr>
          <a:lstStyle>
            <a:lvl1pPr marL="0" indent="0" algn="ctr">
              <a:buNone/>
              <a:defRPr sz="1900" b="1">
                <a:solidFill>
                  <a:schemeClr val="tx2"/>
                </a:solidFill>
              </a:defRPr>
            </a:lvl1pPr>
            <a:lvl2pPr marL="544388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8877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3316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4pPr>
            <a:lvl5pPr marL="217755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5pPr>
            <a:lvl6pPr marL="272194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6pPr>
            <a:lvl7pPr marL="32663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7pPr>
            <a:lvl8pPr marL="381071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8pPr>
            <a:lvl9pPr marL="435510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  <p:grpSp>
        <p:nvGrpSpPr>
          <p:cNvPr id="28" name="Pulse"/>
          <p:cNvGrpSpPr/>
          <p:nvPr userDrawn="1"/>
        </p:nvGrpSpPr>
        <p:grpSpPr>
          <a:xfrm>
            <a:off x="0" y="2990850"/>
            <a:ext cx="12204000" cy="3559175"/>
            <a:chOff x="0" y="2990850"/>
            <a:chExt cx="12204700" cy="3559175"/>
          </a:xfrm>
          <a:solidFill>
            <a:srgbClr val="0000A0"/>
          </a:solidFill>
        </p:grpSpPr>
        <p:sp>
          <p:nvSpPr>
            <p:cNvPr id="29" name="Freeform 5"/>
            <p:cNvSpPr>
              <a:spLocks/>
            </p:cNvSpPr>
            <p:nvPr userDrawn="1"/>
          </p:nvSpPr>
          <p:spPr bwMode="auto">
            <a:xfrm>
              <a:off x="182086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9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9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6"/>
            <p:cNvSpPr>
              <a:spLocks/>
            </p:cNvSpPr>
            <p:nvPr userDrawn="1"/>
          </p:nvSpPr>
          <p:spPr bwMode="auto">
            <a:xfrm>
              <a:off x="1211263" y="4605338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7"/>
            <p:cNvSpPr>
              <a:spLocks/>
            </p:cNvSpPr>
            <p:nvPr userDrawn="1"/>
          </p:nvSpPr>
          <p:spPr bwMode="auto">
            <a:xfrm>
              <a:off x="447675" y="4105275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8"/>
            <p:cNvSpPr>
              <a:spLocks/>
            </p:cNvSpPr>
            <p:nvPr userDrawn="1"/>
          </p:nvSpPr>
          <p:spPr bwMode="auto">
            <a:xfrm>
              <a:off x="10529888" y="3994150"/>
              <a:ext cx="434975" cy="1092200"/>
            </a:xfrm>
            <a:custGeom>
              <a:avLst/>
              <a:gdLst>
                <a:gd name="T0" fmla="*/ 69 w 137"/>
                <a:gd name="T1" fmla="*/ 343 h 343"/>
                <a:gd name="T2" fmla="*/ 69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9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9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9"/>
            <p:cNvSpPr>
              <a:spLocks/>
            </p:cNvSpPr>
            <p:nvPr userDrawn="1"/>
          </p:nvSpPr>
          <p:spPr bwMode="auto">
            <a:xfrm>
              <a:off x="10094913" y="4627563"/>
              <a:ext cx="260350" cy="439738"/>
            </a:xfrm>
            <a:custGeom>
              <a:avLst/>
              <a:gdLst>
                <a:gd name="T0" fmla="*/ 41 w 82"/>
                <a:gd name="T1" fmla="*/ 138 h 138"/>
                <a:gd name="T2" fmla="*/ 41 w 82"/>
                <a:gd name="T3" fmla="*/ 138 h 138"/>
                <a:gd name="T4" fmla="*/ 0 w 82"/>
                <a:gd name="T5" fmla="*/ 96 h 138"/>
                <a:gd name="T6" fmla="*/ 0 w 82"/>
                <a:gd name="T7" fmla="*/ 41 h 138"/>
                <a:gd name="T8" fmla="*/ 41 w 82"/>
                <a:gd name="T9" fmla="*/ 0 h 138"/>
                <a:gd name="T10" fmla="*/ 82 w 82"/>
                <a:gd name="T11" fmla="*/ 41 h 138"/>
                <a:gd name="T12" fmla="*/ 82 w 82"/>
                <a:gd name="T13" fmla="*/ 96 h 138"/>
                <a:gd name="T14" fmla="*/ 41 w 82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8">
                  <a:moveTo>
                    <a:pt x="41" y="138"/>
                  </a:moveTo>
                  <a:cubicBezTo>
                    <a:pt x="41" y="138"/>
                    <a:pt x="41" y="138"/>
                    <a:pt x="41" y="138"/>
                  </a:cubicBezTo>
                  <a:cubicBezTo>
                    <a:pt x="18" y="138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3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3" y="138"/>
                    <a:pt x="41" y="1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0"/>
            <p:cNvSpPr>
              <a:spLocks/>
            </p:cNvSpPr>
            <p:nvPr userDrawn="1"/>
          </p:nvSpPr>
          <p:spPr bwMode="auto">
            <a:xfrm>
              <a:off x="11183938" y="3144838"/>
              <a:ext cx="544513" cy="2444750"/>
            </a:xfrm>
            <a:custGeom>
              <a:avLst/>
              <a:gdLst>
                <a:gd name="T0" fmla="*/ 86 w 171"/>
                <a:gd name="T1" fmla="*/ 768 h 768"/>
                <a:gd name="T2" fmla="*/ 86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6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6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1"/>
            <p:cNvSpPr>
              <a:spLocks noEditPoints="1"/>
            </p:cNvSpPr>
            <p:nvPr userDrawn="1"/>
          </p:nvSpPr>
          <p:spPr bwMode="auto">
            <a:xfrm>
              <a:off x="7742238" y="4083050"/>
              <a:ext cx="434975" cy="1092200"/>
            </a:xfrm>
            <a:custGeom>
              <a:avLst/>
              <a:gdLst>
                <a:gd name="T0" fmla="*/ 69 w 137"/>
                <a:gd name="T1" fmla="*/ 13 h 343"/>
                <a:gd name="T2" fmla="*/ 124 w 137"/>
                <a:gd name="T3" fmla="*/ 68 h 343"/>
                <a:gd name="T4" fmla="*/ 124 w 137"/>
                <a:gd name="T5" fmla="*/ 274 h 343"/>
                <a:gd name="T6" fmla="*/ 69 w 137"/>
                <a:gd name="T7" fmla="*/ 329 h 343"/>
                <a:gd name="T8" fmla="*/ 14 w 137"/>
                <a:gd name="T9" fmla="*/ 274 h 343"/>
                <a:gd name="T10" fmla="*/ 14 w 137"/>
                <a:gd name="T11" fmla="*/ 68 h 343"/>
                <a:gd name="T12" fmla="*/ 69 w 137"/>
                <a:gd name="T13" fmla="*/ 13 h 343"/>
                <a:gd name="T14" fmla="*/ 69 w 137"/>
                <a:gd name="T15" fmla="*/ 0 h 343"/>
                <a:gd name="T16" fmla="*/ 69 w 137"/>
                <a:gd name="T17" fmla="*/ 0 h 343"/>
                <a:gd name="T18" fmla="*/ 0 w 137"/>
                <a:gd name="T19" fmla="*/ 68 h 343"/>
                <a:gd name="T20" fmla="*/ 0 w 137"/>
                <a:gd name="T21" fmla="*/ 274 h 343"/>
                <a:gd name="T22" fmla="*/ 69 w 137"/>
                <a:gd name="T23" fmla="*/ 343 h 343"/>
                <a:gd name="T24" fmla="*/ 137 w 137"/>
                <a:gd name="T25" fmla="*/ 274 h 343"/>
                <a:gd name="T26" fmla="*/ 137 w 137"/>
                <a:gd name="T27" fmla="*/ 68 h 343"/>
                <a:gd name="T28" fmla="*/ 69 w 137"/>
                <a:gd name="T29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7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69" y="0"/>
                    <a:pt x="69" y="0"/>
                    <a:pt x="69" y="0"/>
                  </a:cubicBez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7" y="312"/>
                    <a:pt x="137" y="274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12"/>
            <p:cNvSpPr>
              <a:spLocks/>
            </p:cNvSpPr>
            <p:nvPr userDrawn="1"/>
          </p:nvSpPr>
          <p:spPr bwMode="auto">
            <a:xfrm>
              <a:off x="9480550" y="4605338"/>
              <a:ext cx="439738" cy="1092200"/>
            </a:xfrm>
            <a:custGeom>
              <a:avLst/>
              <a:gdLst>
                <a:gd name="T0" fmla="*/ 69 w 138"/>
                <a:gd name="T1" fmla="*/ 343 h 343"/>
                <a:gd name="T2" fmla="*/ 69 w 138"/>
                <a:gd name="T3" fmla="*/ 343 h 343"/>
                <a:gd name="T4" fmla="*/ 0 w 138"/>
                <a:gd name="T5" fmla="*/ 275 h 343"/>
                <a:gd name="T6" fmla="*/ 0 w 138"/>
                <a:gd name="T7" fmla="*/ 69 h 343"/>
                <a:gd name="T8" fmla="*/ 69 w 138"/>
                <a:gd name="T9" fmla="*/ 0 h 343"/>
                <a:gd name="T10" fmla="*/ 138 w 138"/>
                <a:gd name="T11" fmla="*/ 69 h 343"/>
                <a:gd name="T12" fmla="*/ 138 w 138"/>
                <a:gd name="T13" fmla="*/ 275 h 343"/>
                <a:gd name="T14" fmla="*/ 69 w 138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8" h="343">
                  <a:moveTo>
                    <a:pt x="69" y="343"/>
                  </a:moveTo>
                  <a:cubicBezTo>
                    <a:pt x="69" y="343"/>
                    <a:pt x="69" y="343"/>
                    <a:pt x="69" y="343"/>
                  </a:cubicBezTo>
                  <a:cubicBezTo>
                    <a:pt x="31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107" y="0"/>
                    <a:pt x="138" y="31"/>
                    <a:pt x="138" y="69"/>
                  </a:cubicBezTo>
                  <a:cubicBezTo>
                    <a:pt x="138" y="275"/>
                    <a:pt x="138" y="275"/>
                    <a:pt x="138" y="275"/>
                  </a:cubicBezTo>
                  <a:cubicBezTo>
                    <a:pt x="138" y="313"/>
                    <a:pt x="107" y="343"/>
                    <a:pt x="69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13"/>
            <p:cNvSpPr>
              <a:spLocks noEditPoints="1"/>
            </p:cNvSpPr>
            <p:nvPr userDrawn="1"/>
          </p:nvSpPr>
          <p:spPr bwMode="auto">
            <a:xfrm>
              <a:off x="83978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8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8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14"/>
            <p:cNvSpPr>
              <a:spLocks noEditPoints="1"/>
            </p:cNvSpPr>
            <p:nvPr userDrawn="1"/>
          </p:nvSpPr>
          <p:spPr bwMode="auto">
            <a:xfrm>
              <a:off x="1951038" y="4083050"/>
              <a:ext cx="439738" cy="1092200"/>
            </a:xfrm>
            <a:custGeom>
              <a:avLst/>
              <a:gdLst>
                <a:gd name="T0" fmla="*/ 69 w 138"/>
                <a:gd name="T1" fmla="*/ 13 h 343"/>
                <a:gd name="T2" fmla="*/ 124 w 138"/>
                <a:gd name="T3" fmla="*/ 68 h 343"/>
                <a:gd name="T4" fmla="*/ 124 w 138"/>
                <a:gd name="T5" fmla="*/ 274 h 343"/>
                <a:gd name="T6" fmla="*/ 69 w 138"/>
                <a:gd name="T7" fmla="*/ 329 h 343"/>
                <a:gd name="T8" fmla="*/ 14 w 138"/>
                <a:gd name="T9" fmla="*/ 274 h 343"/>
                <a:gd name="T10" fmla="*/ 14 w 138"/>
                <a:gd name="T11" fmla="*/ 68 h 343"/>
                <a:gd name="T12" fmla="*/ 69 w 138"/>
                <a:gd name="T13" fmla="*/ 13 h 343"/>
                <a:gd name="T14" fmla="*/ 69 w 138"/>
                <a:gd name="T15" fmla="*/ 0 h 343"/>
                <a:gd name="T16" fmla="*/ 0 w 138"/>
                <a:gd name="T17" fmla="*/ 68 h 343"/>
                <a:gd name="T18" fmla="*/ 0 w 138"/>
                <a:gd name="T19" fmla="*/ 274 h 343"/>
                <a:gd name="T20" fmla="*/ 69 w 138"/>
                <a:gd name="T21" fmla="*/ 343 h 343"/>
                <a:gd name="T22" fmla="*/ 138 w 138"/>
                <a:gd name="T23" fmla="*/ 274 h 343"/>
                <a:gd name="T24" fmla="*/ 138 w 138"/>
                <a:gd name="T25" fmla="*/ 68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3"/>
                  </a:moveTo>
                  <a:cubicBezTo>
                    <a:pt x="99" y="13"/>
                    <a:pt x="124" y="38"/>
                    <a:pt x="124" y="68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304"/>
                    <a:pt x="99" y="329"/>
                    <a:pt x="69" y="329"/>
                  </a:cubicBezTo>
                  <a:cubicBezTo>
                    <a:pt x="39" y="329"/>
                    <a:pt x="14" y="304"/>
                    <a:pt x="14" y="274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38"/>
                    <a:pt x="39" y="13"/>
                    <a:pt x="69" y="13"/>
                  </a:cubicBezTo>
                  <a:moveTo>
                    <a:pt x="69" y="0"/>
                  </a:moveTo>
                  <a:cubicBezTo>
                    <a:pt x="31" y="0"/>
                    <a:pt x="0" y="30"/>
                    <a:pt x="0" y="6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312"/>
                    <a:pt x="31" y="343"/>
                    <a:pt x="69" y="343"/>
                  </a:cubicBezTo>
                  <a:cubicBezTo>
                    <a:pt x="107" y="343"/>
                    <a:pt x="138" y="312"/>
                    <a:pt x="138" y="274"/>
                  </a:cubicBezTo>
                  <a:cubicBezTo>
                    <a:pt x="138" y="68"/>
                    <a:pt x="138" y="68"/>
                    <a:pt x="138" y="68"/>
                  </a:cubicBezTo>
                  <a:cubicBezTo>
                    <a:pt x="138" y="30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15"/>
            <p:cNvSpPr>
              <a:spLocks noEditPoints="1"/>
            </p:cNvSpPr>
            <p:nvPr userDrawn="1"/>
          </p:nvSpPr>
          <p:spPr bwMode="auto">
            <a:xfrm>
              <a:off x="2606675" y="3230563"/>
              <a:ext cx="546100" cy="2447925"/>
            </a:xfrm>
            <a:custGeom>
              <a:avLst/>
              <a:gdLst>
                <a:gd name="T0" fmla="*/ 86 w 172"/>
                <a:gd name="T1" fmla="*/ 14 h 769"/>
                <a:gd name="T2" fmla="*/ 158 w 172"/>
                <a:gd name="T3" fmla="*/ 86 h 769"/>
                <a:gd name="T4" fmla="*/ 158 w 172"/>
                <a:gd name="T5" fmla="*/ 683 h 769"/>
                <a:gd name="T6" fmla="*/ 86 w 172"/>
                <a:gd name="T7" fmla="*/ 755 h 769"/>
                <a:gd name="T8" fmla="*/ 14 w 172"/>
                <a:gd name="T9" fmla="*/ 683 h 769"/>
                <a:gd name="T10" fmla="*/ 14 w 172"/>
                <a:gd name="T11" fmla="*/ 86 h 769"/>
                <a:gd name="T12" fmla="*/ 86 w 172"/>
                <a:gd name="T13" fmla="*/ 14 h 769"/>
                <a:gd name="T14" fmla="*/ 86 w 172"/>
                <a:gd name="T15" fmla="*/ 0 h 769"/>
                <a:gd name="T16" fmla="*/ 0 w 172"/>
                <a:gd name="T17" fmla="*/ 86 h 769"/>
                <a:gd name="T18" fmla="*/ 0 w 172"/>
                <a:gd name="T19" fmla="*/ 683 h 769"/>
                <a:gd name="T20" fmla="*/ 86 w 172"/>
                <a:gd name="T21" fmla="*/ 769 h 769"/>
                <a:gd name="T22" fmla="*/ 172 w 172"/>
                <a:gd name="T23" fmla="*/ 683 h 769"/>
                <a:gd name="T24" fmla="*/ 172 w 172"/>
                <a:gd name="T25" fmla="*/ 86 h 769"/>
                <a:gd name="T26" fmla="*/ 86 w 172"/>
                <a:gd name="T27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2" h="769">
                  <a:moveTo>
                    <a:pt x="86" y="14"/>
                  </a:moveTo>
                  <a:cubicBezTo>
                    <a:pt x="126" y="14"/>
                    <a:pt x="158" y="46"/>
                    <a:pt x="158" y="86"/>
                  </a:cubicBezTo>
                  <a:cubicBezTo>
                    <a:pt x="158" y="683"/>
                    <a:pt x="158" y="683"/>
                    <a:pt x="158" y="683"/>
                  </a:cubicBezTo>
                  <a:cubicBezTo>
                    <a:pt x="158" y="723"/>
                    <a:pt x="126" y="755"/>
                    <a:pt x="86" y="755"/>
                  </a:cubicBezTo>
                  <a:cubicBezTo>
                    <a:pt x="46" y="755"/>
                    <a:pt x="14" y="723"/>
                    <a:pt x="14" y="683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46"/>
                    <a:pt x="46" y="14"/>
                    <a:pt x="86" y="14"/>
                  </a:cubicBezTo>
                  <a:moveTo>
                    <a:pt x="86" y="0"/>
                  </a:moveTo>
                  <a:cubicBezTo>
                    <a:pt x="39" y="0"/>
                    <a:pt x="0" y="39"/>
                    <a:pt x="0" y="86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0" y="730"/>
                    <a:pt x="39" y="769"/>
                    <a:pt x="86" y="769"/>
                  </a:cubicBezTo>
                  <a:cubicBezTo>
                    <a:pt x="133" y="769"/>
                    <a:pt x="172" y="730"/>
                    <a:pt x="172" y="683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2" y="39"/>
                    <a:pt x="133" y="0"/>
                    <a:pt x="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16"/>
            <p:cNvSpPr>
              <a:spLocks/>
            </p:cNvSpPr>
            <p:nvPr userDrawn="1"/>
          </p:nvSpPr>
          <p:spPr bwMode="auto">
            <a:xfrm>
              <a:off x="8718550" y="4105275"/>
              <a:ext cx="546100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17"/>
            <p:cNvSpPr>
              <a:spLocks noEditPoints="1"/>
            </p:cNvSpPr>
            <p:nvPr userDrawn="1"/>
          </p:nvSpPr>
          <p:spPr bwMode="auto">
            <a:xfrm>
              <a:off x="4465638" y="3841750"/>
              <a:ext cx="438150" cy="1092200"/>
            </a:xfrm>
            <a:custGeom>
              <a:avLst/>
              <a:gdLst>
                <a:gd name="T0" fmla="*/ 69 w 138"/>
                <a:gd name="T1" fmla="*/ 14 h 343"/>
                <a:gd name="T2" fmla="*/ 124 w 138"/>
                <a:gd name="T3" fmla="*/ 69 h 343"/>
                <a:gd name="T4" fmla="*/ 124 w 138"/>
                <a:gd name="T5" fmla="*/ 275 h 343"/>
                <a:gd name="T6" fmla="*/ 69 w 138"/>
                <a:gd name="T7" fmla="*/ 330 h 343"/>
                <a:gd name="T8" fmla="*/ 14 w 138"/>
                <a:gd name="T9" fmla="*/ 275 h 343"/>
                <a:gd name="T10" fmla="*/ 14 w 138"/>
                <a:gd name="T11" fmla="*/ 69 h 343"/>
                <a:gd name="T12" fmla="*/ 69 w 138"/>
                <a:gd name="T13" fmla="*/ 14 h 343"/>
                <a:gd name="T14" fmla="*/ 69 w 138"/>
                <a:gd name="T15" fmla="*/ 0 h 343"/>
                <a:gd name="T16" fmla="*/ 0 w 138"/>
                <a:gd name="T17" fmla="*/ 69 h 343"/>
                <a:gd name="T18" fmla="*/ 0 w 138"/>
                <a:gd name="T19" fmla="*/ 275 h 343"/>
                <a:gd name="T20" fmla="*/ 69 w 138"/>
                <a:gd name="T21" fmla="*/ 343 h 343"/>
                <a:gd name="T22" fmla="*/ 138 w 138"/>
                <a:gd name="T23" fmla="*/ 275 h 343"/>
                <a:gd name="T24" fmla="*/ 138 w 138"/>
                <a:gd name="T25" fmla="*/ 69 h 343"/>
                <a:gd name="T26" fmla="*/ 69 w 138"/>
                <a:gd name="T27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343">
                  <a:moveTo>
                    <a:pt x="69" y="14"/>
                  </a:moveTo>
                  <a:cubicBezTo>
                    <a:pt x="99" y="14"/>
                    <a:pt x="124" y="39"/>
                    <a:pt x="124" y="69"/>
                  </a:cubicBezTo>
                  <a:cubicBezTo>
                    <a:pt x="124" y="275"/>
                    <a:pt x="124" y="275"/>
                    <a:pt x="124" y="275"/>
                  </a:cubicBezTo>
                  <a:cubicBezTo>
                    <a:pt x="124" y="305"/>
                    <a:pt x="99" y="330"/>
                    <a:pt x="69" y="330"/>
                  </a:cubicBezTo>
                  <a:cubicBezTo>
                    <a:pt x="39" y="330"/>
                    <a:pt x="14" y="305"/>
                    <a:pt x="14" y="275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4" y="39"/>
                    <a:pt x="39" y="14"/>
                    <a:pt x="69" y="14"/>
                  </a:cubicBezTo>
                  <a:moveTo>
                    <a:pt x="69" y="0"/>
                  </a:moveTo>
                  <a:cubicBezTo>
                    <a:pt x="31" y="0"/>
                    <a:pt x="0" y="31"/>
                    <a:pt x="0" y="69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313"/>
                    <a:pt x="31" y="343"/>
                    <a:pt x="69" y="343"/>
                  </a:cubicBezTo>
                  <a:cubicBezTo>
                    <a:pt x="107" y="343"/>
                    <a:pt x="138" y="313"/>
                    <a:pt x="138" y="275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31"/>
                    <a:pt x="107" y="0"/>
                    <a:pt x="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18"/>
            <p:cNvSpPr>
              <a:spLocks/>
            </p:cNvSpPr>
            <p:nvPr userDrawn="1"/>
          </p:nvSpPr>
          <p:spPr bwMode="auto">
            <a:xfrm>
              <a:off x="7259638" y="4475163"/>
              <a:ext cx="260350" cy="436563"/>
            </a:xfrm>
            <a:custGeom>
              <a:avLst/>
              <a:gdLst>
                <a:gd name="T0" fmla="*/ 41 w 82"/>
                <a:gd name="T1" fmla="*/ 137 h 137"/>
                <a:gd name="T2" fmla="*/ 41 w 82"/>
                <a:gd name="T3" fmla="*/ 137 h 137"/>
                <a:gd name="T4" fmla="*/ 0 w 82"/>
                <a:gd name="T5" fmla="*/ 96 h 137"/>
                <a:gd name="T6" fmla="*/ 0 w 82"/>
                <a:gd name="T7" fmla="*/ 41 h 137"/>
                <a:gd name="T8" fmla="*/ 41 w 82"/>
                <a:gd name="T9" fmla="*/ 0 h 137"/>
                <a:gd name="T10" fmla="*/ 82 w 82"/>
                <a:gd name="T11" fmla="*/ 41 h 137"/>
                <a:gd name="T12" fmla="*/ 82 w 82"/>
                <a:gd name="T13" fmla="*/ 96 h 137"/>
                <a:gd name="T14" fmla="*/ 41 w 82"/>
                <a:gd name="T15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37">
                  <a:moveTo>
                    <a:pt x="41" y="137"/>
                  </a:moveTo>
                  <a:cubicBezTo>
                    <a:pt x="41" y="137"/>
                    <a:pt x="41" y="137"/>
                    <a:pt x="41" y="137"/>
                  </a:cubicBezTo>
                  <a:cubicBezTo>
                    <a:pt x="18" y="137"/>
                    <a:pt x="0" y="119"/>
                    <a:pt x="0" y="9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9"/>
                    <a:pt x="18" y="0"/>
                    <a:pt x="41" y="0"/>
                  </a:cubicBezTo>
                  <a:cubicBezTo>
                    <a:pt x="64" y="0"/>
                    <a:pt x="82" y="19"/>
                    <a:pt x="82" y="41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82" y="119"/>
                    <a:pt x="64" y="137"/>
                    <a:pt x="41" y="1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19"/>
            <p:cNvSpPr>
              <a:spLocks noEditPoints="1"/>
            </p:cNvSpPr>
            <p:nvPr userDrawn="1"/>
          </p:nvSpPr>
          <p:spPr bwMode="auto">
            <a:xfrm>
              <a:off x="4030663" y="4475163"/>
              <a:ext cx="260350" cy="436563"/>
            </a:xfrm>
            <a:custGeom>
              <a:avLst/>
              <a:gdLst>
                <a:gd name="T0" fmla="*/ 41 w 82"/>
                <a:gd name="T1" fmla="*/ 14 h 137"/>
                <a:gd name="T2" fmla="*/ 69 w 82"/>
                <a:gd name="T3" fmla="*/ 41 h 137"/>
                <a:gd name="T4" fmla="*/ 69 w 82"/>
                <a:gd name="T5" fmla="*/ 96 h 137"/>
                <a:gd name="T6" fmla="*/ 41 w 82"/>
                <a:gd name="T7" fmla="*/ 124 h 137"/>
                <a:gd name="T8" fmla="*/ 14 w 82"/>
                <a:gd name="T9" fmla="*/ 96 h 137"/>
                <a:gd name="T10" fmla="*/ 14 w 82"/>
                <a:gd name="T11" fmla="*/ 41 h 137"/>
                <a:gd name="T12" fmla="*/ 41 w 82"/>
                <a:gd name="T13" fmla="*/ 14 h 137"/>
                <a:gd name="T14" fmla="*/ 41 w 82"/>
                <a:gd name="T15" fmla="*/ 0 h 137"/>
                <a:gd name="T16" fmla="*/ 0 w 82"/>
                <a:gd name="T17" fmla="*/ 41 h 137"/>
                <a:gd name="T18" fmla="*/ 0 w 82"/>
                <a:gd name="T19" fmla="*/ 96 h 137"/>
                <a:gd name="T20" fmla="*/ 41 w 82"/>
                <a:gd name="T21" fmla="*/ 137 h 137"/>
                <a:gd name="T22" fmla="*/ 82 w 82"/>
                <a:gd name="T23" fmla="*/ 96 h 137"/>
                <a:gd name="T24" fmla="*/ 82 w 82"/>
                <a:gd name="T25" fmla="*/ 41 h 137"/>
                <a:gd name="T26" fmla="*/ 41 w 82"/>
                <a:gd name="T27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2" h="137">
                  <a:moveTo>
                    <a:pt x="41" y="14"/>
                  </a:moveTo>
                  <a:cubicBezTo>
                    <a:pt x="56" y="14"/>
                    <a:pt x="69" y="26"/>
                    <a:pt x="69" y="41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69" y="112"/>
                    <a:pt x="56" y="124"/>
                    <a:pt x="41" y="124"/>
                  </a:cubicBezTo>
                  <a:cubicBezTo>
                    <a:pt x="26" y="124"/>
                    <a:pt x="14" y="112"/>
                    <a:pt x="14" y="96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26"/>
                    <a:pt x="26" y="14"/>
                    <a:pt x="41" y="14"/>
                  </a:cubicBezTo>
                  <a:moveTo>
                    <a:pt x="41" y="0"/>
                  </a:moveTo>
                  <a:cubicBezTo>
                    <a:pt x="19" y="0"/>
                    <a:pt x="0" y="19"/>
                    <a:pt x="0" y="41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19"/>
                    <a:pt x="19" y="137"/>
                    <a:pt x="41" y="137"/>
                  </a:cubicBezTo>
                  <a:cubicBezTo>
                    <a:pt x="64" y="137"/>
                    <a:pt x="82" y="119"/>
                    <a:pt x="82" y="96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19"/>
                    <a:pt x="64" y="0"/>
                    <a:pt x="4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20"/>
            <p:cNvSpPr>
              <a:spLocks/>
            </p:cNvSpPr>
            <p:nvPr userDrawn="1"/>
          </p:nvSpPr>
          <p:spPr bwMode="auto">
            <a:xfrm>
              <a:off x="6648450" y="4452938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5 h 343"/>
                <a:gd name="T6" fmla="*/ 0 w 137"/>
                <a:gd name="T7" fmla="*/ 69 h 343"/>
                <a:gd name="T8" fmla="*/ 68 w 137"/>
                <a:gd name="T9" fmla="*/ 0 h 343"/>
                <a:gd name="T10" fmla="*/ 137 w 137"/>
                <a:gd name="T11" fmla="*/ 69 h 343"/>
                <a:gd name="T12" fmla="*/ 137 w 137"/>
                <a:gd name="T13" fmla="*/ 275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3"/>
                    <a:pt x="0" y="275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0" y="0"/>
                    <a:pt x="68" y="0"/>
                  </a:cubicBezTo>
                  <a:cubicBezTo>
                    <a:pt x="106" y="0"/>
                    <a:pt x="137" y="31"/>
                    <a:pt x="137" y="69"/>
                  </a:cubicBezTo>
                  <a:cubicBezTo>
                    <a:pt x="137" y="275"/>
                    <a:pt x="137" y="275"/>
                    <a:pt x="137" y="275"/>
                  </a:cubicBezTo>
                  <a:cubicBezTo>
                    <a:pt x="137" y="313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21"/>
            <p:cNvSpPr>
              <a:spLocks/>
            </p:cNvSpPr>
            <p:nvPr userDrawn="1"/>
          </p:nvSpPr>
          <p:spPr bwMode="auto">
            <a:xfrm>
              <a:off x="5119688" y="2990850"/>
              <a:ext cx="547688" cy="2444750"/>
            </a:xfrm>
            <a:custGeom>
              <a:avLst/>
              <a:gdLst>
                <a:gd name="T0" fmla="*/ 86 w 172"/>
                <a:gd name="T1" fmla="*/ 768 h 768"/>
                <a:gd name="T2" fmla="*/ 86 w 172"/>
                <a:gd name="T3" fmla="*/ 768 h 768"/>
                <a:gd name="T4" fmla="*/ 0 w 172"/>
                <a:gd name="T5" fmla="*/ 682 h 768"/>
                <a:gd name="T6" fmla="*/ 0 w 172"/>
                <a:gd name="T7" fmla="*/ 85 h 768"/>
                <a:gd name="T8" fmla="*/ 86 w 172"/>
                <a:gd name="T9" fmla="*/ 0 h 768"/>
                <a:gd name="T10" fmla="*/ 172 w 172"/>
                <a:gd name="T11" fmla="*/ 85 h 768"/>
                <a:gd name="T12" fmla="*/ 172 w 172"/>
                <a:gd name="T13" fmla="*/ 682 h 768"/>
                <a:gd name="T14" fmla="*/ 86 w 172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768">
                  <a:moveTo>
                    <a:pt x="86" y="768"/>
                  </a:moveTo>
                  <a:cubicBezTo>
                    <a:pt x="86" y="768"/>
                    <a:pt x="86" y="768"/>
                    <a:pt x="86" y="768"/>
                  </a:cubicBezTo>
                  <a:cubicBezTo>
                    <a:pt x="39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2" y="38"/>
                    <a:pt x="172" y="85"/>
                  </a:cubicBezTo>
                  <a:cubicBezTo>
                    <a:pt x="172" y="682"/>
                    <a:pt x="172" y="682"/>
                    <a:pt x="172" y="682"/>
                  </a:cubicBezTo>
                  <a:cubicBezTo>
                    <a:pt x="172" y="730"/>
                    <a:pt x="133" y="768"/>
                    <a:pt x="86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22"/>
            <p:cNvSpPr>
              <a:spLocks/>
            </p:cNvSpPr>
            <p:nvPr userDrawn="1"/>
          </p:nvSpPr>
          <p:spPr bwMode="auto">
            <a:xfrm>
              <a:off x="5886450" y="3952875"/>
              <a:ext cx="542925" cy="2444750"/>
            </a:xfrm>
            <a:custGeom>
              <a:avLst/>
              <a:gdLst>
                <a:gd name="T0" fmla="*/ 85 w 171"/>
                <a:gd name="T1" fmla="*/ 768 h 768"/>
                <a:gd name="T2" fmla="*/ 85 w 171"/>
                <a:gd name="T3" fmla="*/ 768 h 768"/>
                <a:gd name="T4" fmla="*/ 0 w 171"/>
                <a:gd name="T5" fmla="*/ 682 h 768"/>
                <a:gd name="T6" fmla="*/ 0 w 171"/>
                <a:gd name="T7" fmla="*/ 85 h 768"/>
                <a:gd name="T8" fmla="*/ 85 w 171"/>
                <a:gd name="T9" fmla="*/ 0 h 768"/>
                <a:gd name="T10" fmla="*/ 171 w 171"/>
                <a:gd name="T11" fmla="*/ 85 h 768"/>
                <a:gd name="T12" fmla="*/ 171 w 171"/>
                <a:gd name="T13" fmla="*/ 682 h 768"/>
                <a:gd name="T14" fmla="*/ 85 w 171"/>
                <a:gd name="T15" fmla="*/ 768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8">
                  <a:moveTo>
                    <a:pt x="85" y="768"/>
                  </a:moveTo>
                  <a:cubicBezTo>
                    <a:pt x="85" y="768"/>
                    <a:pt x="85" y="768"/>
                    <a:pt x="85" y="768"/>
                  </a:cubicBezTo>
                  <a:cubicBezTo>
                    <a:pt x="38" y="768"/>
                    <a:pt x="0" y="730"/>
                    <a:pt x="0" y="68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682"/>
                    <a:pt x="171" y="682"/>
                    <a:pt x="171" y="682"/>
                  </a:cubicBezTo>
                  <a:cubicBezTo>
                    <a:pt x="171" y="730"/>
                    <a:pt x="133" y="768"/>
                    <a:pt x="85" y="7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23"/>
            <p:cNvSpPr>
              <a:spLocks/>
            </p:cNvSpPr>
            <p:nvPr userDrawn="1"/>
          </p:nvSpPr>
          <p:spPr bwMode="auto">
            <a:xfrm>
              <a:off x="3790950" y="4716463"/>
              <a:ext cx="436563" cy="1092200"/>
            </a:xfrm>
            <a:custGeom>
              <a:avLst/>
              <a:gdLst>
                <a:gd name="T0" fmla="*/ 68 w 137"/>
                <a:gd name="T1" fmla="*/ 343 h 343"/>
                <a:gd name="T2" fmla="*/ 68 w 137"/>
                <a:gd name="T3" fmla="*/ 343 h 343"/>
                <a:gd name="T4" fmla="*/ 0 w 137"/>
                <a:gd name="T5" fmla="*/ 274 h 343"/>
                <a:gd name="T6" fmla="*/ 0 w 137"/>
                <a:gd name="T7" fmla="*/ 68 h 343"/>
                <a:gd name="T8" fmla="*/ 68 w 137"/>
                <a:gd name="T9" fmla="*/ 0 h 343"/>
                <a:gd name="T10" fmla="*/ 137 w 137"/>
                <a:gd name="T11" fmla="*/ 68 h 343"/>
                <a:gd name="T12" fmla="*/ 137 w 137"/>
                <a:gd name="T13" fmla="*/ 274 h 343"/>
                <a:gd name="T14" fmla="*/ 68 w 137"/>
                <a:gd name="T15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43">
                  <a:moveTo>
                    <a:pt x="68" y="343"/>
                  </a:moveTo>
                  <a:cubicBezTo>
                    <a:pt x="68" y="343"/>
                    <a:pt x="68" y="343"/>
                    <a:pt x="68" y="343"/>
                  </a:cubicBezTo>
                  <a:cubicBezTo>
                    <a:pt x="30" y="343"/>
                    <a:pt x="0" y="312"/>
                    <a:pt x="0" y="274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30"/>
                    <a:pt x="30" y="0"/>
                    <a:pt x="68" y="0"/>
                  </a:cubicBezTo>
                  <a:cubicBezTo>
                    <a:pt x="106" y="0"/>
                    <a:pt x="137" y="30"/>
                    <a:pt x="137" y="68"/>
                  </a:cubicBezTo>
                  <a:cubicBezTo>
                    <a:pt x="137" y="274"/>
                    <a:pt x="137" y="274"/>
                    <a:pt x="137" y="274"/>
                  </a:cubicBezTo>
                  <a:cubicBezTo>
                    <a:pt x="137" y="312"/>
                    <a:pt x="106" y="343"/>
                    <a:pt x="68" y="3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24"/>
            <p:cNvSpPr>
              <a:spLocks/>
            </p:cNvSpPr>
            <p:nvPr userDrawn="1"/>
          </p:nvSpPr>
          <p:spPr bwMode="auto">
            <a:xfrm>
              <a:off x="3028950" y="3841750"/>
              <a:ext cx="542925" cy="2447925"/>
            </a:xfrm>
            <a:custGeom>
              <a:avLst/>
              <a:gdLst>
                <a:gd name="T0" fmla="*/ 85 w 171"/>
                <a:gd name="T1" fmla="*/ 769 h 769"/>
                <a:gd name="T2" fmla="*/ 85 w 171"/>
                <a:gd name="T3" fmla="*/ 769 h 769"/>
                <a:gd name="T4" fmla="*/ 0 w 171"/>
                <a:gd name="T5" fmla="*/ 683 h 769"/>
                <a:gd name="T6" fmla="*/ 0 w 171"/>
                <a:gd name="T7" fmla="*/ 86 h 769"/>
                <a:gd name="T8" fmla="*/ 85 w 171"/>
                <a:gd name="T9" fmla="*/ 0 h 769"/>
                <a:gd name="T10" fmla="*/ 171 w 171"/>
                <a:gd name="T11" fmla="*/ 86 h 769"/>
                <a:gd name="T12" fmla="*/ 171 w 171"/>
                <a:gd name="T13" fmla="*/ 683 h 769"/>
                <a:gd name="T14" fmla="*/ 85 w 171"/>
                <a:gd name="T15" fmla="*/ 769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1" h="769">
                  <a:moveTo>
                    <a:pt x="85" y="769"/>
                  </a:moveTo>
                  <a:cubicBezTo>
                    <a:pt x="85" y="769"/>
                    <a:pt x="85" y="769"/>
                    <a:pt x="85" y="769"/>
                  </a:cubicBezTo>
                  <a:cubicBezTo>
                    <a:pt x="38" y="769"/>
                    <a:pt x="0" y="730"/>
                    <a:pt x="0" y="683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3" y="0"/>
                    <a:pt x="171" y="39"/>
                    <a:pt x="171" y="86"/>
                  </a:cubicBezTo>
                  <a:cubicBezTo>
                    <a:pt x="171" y="683"/>
                    <a:pt x="171" y="683"/>
                    <a:pt x="171" y="683"/>
                  </a:cubicBezTo>
                  <a:cubicBezTo>
                    <a:pt x="171" y="730"/>
                    <a:pt x="133" y="769"/>
                    <a:pt x="85" y="76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25"/>
            <p:cNvSpPr>
              <a:spLocks/>
            </p:cNvSpPr>
            <p:nvPr userDrawn="1"/>
          </p:nvSpPr>
          <p:spPr bwMode="auto">
            <a:xfrm>
              <a:off x="0" y="3148013"/>
              <a:ext cx="228600" cy="2438400"/>
            </a:xfrm>
            <a:custGeom>
              <a:avLst/>
              <a:gdLst>
                <a:gd name="T0" fmla="*/ 0 w 72"/>
                <a:gd name="T1" fmla="*/ 0 h 766"/>
                <a:gd name="T2" fmla="*/ 0 w 72"/>
                <a:gd name="T3" fmla="*/ 766 h 766"/>
                <a:gd name="T4" fmla="*/ 72 w 72"/>
                <a:gd name="T5" fmla="*/ 681 h 766"/>
                <a:gd name="T6" fmla="*/ 72 w 72"/>
                <a:gd name="T7" fmla="*/ 84 h 766"/>
                <a:gd name="T8" fmla="*/ 0 w 72"/>
                <a:gd name="T9" fmla="*/ 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66">
                  <a:moveTo>
                    <a:pt x="0" y="0"/>
                  </a:moveTo>
                  <a:cubicBezTo>
                    <a:pt x="0" y="766"/>
                    <a:pt x="0" y="766"/>
                    <a:pt x="0" y="766"/>
                  </a:cubicBezTo>
                  <a:cubicBezTo>
                    <a:pt x="41" y="759"/>
                    <a:pt x="72" y="724"/>
                    <a:pt x="72" y="681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2" y="42"/>
                    <a:pt x="41" y="6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26"/>
            <p:cNvSpPr>
              <a:spLocks/>
            </p:cNvSpPr>
            <p:nvPr userDrawn="1"/>
          </p:nvSpPr>
          <p:spPr bwMode="auto">
            <a:xfrm>
              <a:off x="11950700" y="4105275"/>
              <a:ext cx="254000" cy="2444750"/>
            </a:xfrm>
            <a:custGeom>
              <a:avLst/>
              <a:gdLst>
                <a:gd name="T0" fmla="*/ 80 w 80"/>
                <a:gd name="T1" fmla="*/ 0 h 768"/>
                <a:gd name="T2" fmla="*/ 0 w 80"/>
                <a:gd name="T3" fmla="*/ 85 h 768"/>
                <a:gd name="T4" fmla="*/ 0 w 80"/>
                <a:gd name="T5" fmla="*/ 682 h 768"/>
                <a:gd name="T6" fmla="*/ 80 w 80"/>
                <a:gd name="T7" fmla="*/ 768 h 768"/>
                <a:gd name="T8" fmla="*/ 80 w 80"/>
                <a:gd name="T9" fmla="*/ 0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768">
                  <a:moveTo>
                    <a:pt x="80" y="0"/>
                  </a:moveTo>
                  <a:cubicBezTo>
                    <a:pt x="36" y="2"/>
                    <a:pt x="0" y="39"/>
                    <a:pt x="0" y="85"/>
                  </a:cubicBezTo>
                  <a:cubicBezTo>
                    <a:pt x="0" y="682"/>
                    <a:pt x="0" y="682"/>
                    <a:pt x="0" y="682"/>
                  </a:cubicBezTo>
                  <a:cubicBezTo>
                    <a:pt x="0" y="728"/>
                    <a:pt x="36" y="766"/>
                    <a:pt x="80" y="768"/>
                  </a:cubicBezTo>
                  <a:lnTo>
                    <a:pt x="8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954825602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41538" y="1089025"/>
            <a:ext cx="6864086" cy="2268744"/>
          </a:xfrm>
        </p:spPr>
        <p:txBody>
          <a:bodyPr>
            <a:noAutofit/>
          </a:bodyPr>
          <a:lstStyle>
            <a:lvl1pPr algn="ctr">
              <a:defRPr sz="3000">
                <a:solidFill>
                  <a:srgbClr val="0000A0"/>
                </a:solidFill>
              </a:defRPr>
            </a:lvl1pPr>
          </a:lstStyle>
          <a:p>
            <a:r>
              <a:rPr lang="en-GB"/>
              <a:t>Click and type quot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41203" y="3573521"/>
            <a:ext cx="6864086" cy="540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rgbClr val="8B8A8D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8B8A8D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00194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41538" y="1090800"/>
            <a:ext cx="6864086" cy="2268000"/>
          </a:xfrm>
        </p:spPr>
        <p:txBody>
          <a:bodyPr>
            <a:noAutofit/>
          </a:bodyPr>
          <a:lstStyle>
            <a:lvl1pPr algn="ctr">
              <a:defRPr sz="3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and type quot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41203" y="3573521"/>
            <a:ext cx="6864086" cy="540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chemeClr val="bg1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Logotype, static"/>
          <p:cNvGrpSpPr/>
          <p:nvPr userDrawn="1"/>
        </p:nvGrpSpPr>
        <p:grpSpPr>
          <a:xfrm>
            <a:off x="10689465" y="6389301"/>
            <a:ext cx="863687" cy="180102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24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51786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Pulse Patter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41538" y="166246"/>
            <a:ext cx="6864086" cy="2327243"/>
          </a:xfrm>
        </p:spPr>
        <p:txBody>
          <a:bodyPr>
            <a:noAutofit/>
          </a:bodyPr>
          <a:lstStyle>
            <a:lvl1pPr algn="ctr">
              <a:defRPr sz="30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and type quot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2641203" y="2709241"/>
            <a:ext cx="6864086" cy="540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b="1">
                <a:solidFill>
                  <a:schemeClr val="bg1"/>
                </a:solidFill>
              </a:defRPr>
            </a:lvl1pPr>
            <a:lvl2pPr marL="257191" indent="0">
              <a:buFontTx/>
              <a:buNone/>
              <a:defRPr b="1">
                <a:solidFill>
                  <a:schemeClr val="accent4"/>
                </a:solidFill>
              </a:defRPr>
            </a:lvl2pPr>
            <a:lvl3pPr marL="514382" indent="0">
              <a:buFontTx/>
              <a:buNone/>
              <a:defRPr b="1">
                <a:solidFill>
                  <a:schemeClr val="accent4"/>
                </a:solidFill>
              </a:defRPr>
            </a:lvl3pPr>
            <a:lvl4pPr marL="771574" indent="0">
              <a:buFontTx/>
              <a:buNone/>
              <a:defRPr b="1">
                <a:solidFill>
                  <a:schemeClr val="accent4"/>
                </a:solidFill>
              </a:defRPr>
            </a:lvl4pPr>
            <a:lvl5pPr marL="1028765" indent="0">
              <a:buFontTx/>
              <a:buNone/>
              <a:defRPr b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GB"/>
              <a:t>Name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Pulse"/>
          <p:cNvGrpSpPr/>
          <p:nvPr userDrawn="1"/>
        </p:nvGrpSpPr>
        <p:grpSpPr>
          <a:xfrm>
            <a:off x="0" y="3348038"/>
            <a:ext cx="12204700" cy="2643187"/>
            <a:chOff x="0" y="3348038"/>
            <a:chExt cx="12204700" cy="2643187"/>
          </a:xfrm>
          <a:solidFill>
            <a:srgbClr val="0000FF"/>
          </a:solidFill>
        </p:grpSpPr>
        <p:sp>
          <p:nvSpPr>
            <p:cNvPr id="45" name="Freeform 5"/>
            <p:cNvSpPr>
              <a:spLocks/>
            </p:cNvSpPr>
            <p:nvPr userDrawn="1"/>
          </p:nvSpPr>
          <p:spPr bwMode="auto">
            <a:xfrm>
              <a:off x="1906588" y="4092575"/>
              <a:ext cx="323850" cy="812800"/>
            </a:xfrm>
            <a:custGeom>
              <a:avLst/>
              <a:gdLst>
                <a:gd name="T0" fmla="*/ 51 w 102"/>
                <a:gd name="T1" fmla="*/ 255 h 255"/>
                <a:gd name="T2" fmla="*/ 51 w 102"/>
                <a:gd name="T3" fmla="*/ 255 h 255"/>
                <a:gd name="T4" fmla="*/ 0 w 102"/>
                <a:gd name="T5" fmla="*/ 204 h 255"/>
                <a:gd name="T6" fmla="*/ 0 w 102"/>
                <a:gd name="T7" fmla="*/ 51 h 255"/>
                <a:gd name="T8" fmla="*/ 51 w 102"/>
                <a:gd name="T9" fmla="*/ 0 h 255"/>
                <a:gd name="T10" fmla="*/ 102 w 102"/>
                <a:gd name="T11" fmla="*/ 51 h 255"/>
                <a:gd name="T12" fmla="*/ 102 w 102"/>
                <a:gd name="T13" fmla="*/ 204 h 255"/>
                <a:gd name="T14" fmla="*/ 51 w 102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5">
                  <a:moveTo>
                    <a:pt x="51" y="255"/>
                  </a:moveTo>
                  <a:cubicBezTo>
                    <a:pt x="51" y="255"/>
                    <a:pt x="51" y="255"/>
                    <a:pt x="51" y="255"/>
                  </a:cubicBezTo>
                  <a:cubicBezTo>
                    <a:pt x="23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32"/>
                    <a:pt x="79" y="255"/>
                    <a:pt x="51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6"/>
            <p:cNvSpPr>
              <a:spLocks/>
            </p:cNvSpPr>
            <p:nvPr userDrawn="1"/>
          </p:nvSpPr>
          <p:spPr bwMode="auto">
            <a:xfrm>
              <a:off x="3979863" y="4564063"/>
              <a:ext cx="193675" cy="325438"/>
            </a:xfrm>
            <a:custGeom>
              <a:avLst/>
              <a:gdLst>
                <a:gd name="T0" fmla="*/ 30 w 61"/>
                <a:gd name="T1" fmla="*/ 102 h 102"/>
                <a:gd name="T2" fmla="*/ 30 w 61"/>
                <a:gd name="T3" fmla="*/ 102 h 102"/>
                <a:gd name="T4" fmla="*/ 0 w 61"/>
                <a:gd name="T5" fmla="*/ 71 h 102"/>
                <a:gd name="T6" fmla="*/ 0 w 61"/>
                <a:gd name="T7" fmla="*/ 30 h 102"/>
                <a:gd name="T8" fmla="*/ 30 w 61"/>
                <a:gd name="T9" fmla="*/ 0 h 102"/>
                <a:gd name="T10" fmla="*/ 61 w 61"/>
                <a:gd name="T11" fmla="*/ 30 h 102"/>
                <a:gd name="T12" fmla="*/ 61 w 61"/>
                <a:gd name="T13" fmla="*/ 71 h 102"/>
                <a:gd name="T14" fmla="*/ 30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0" y="102"/>
                  </a:moveTo>
                  <a:cubicBezTo>
                    <a:pt x="30" y="102"/>
                    <a:pt x="30" y="102"/>
                    <a:pt x="30" y="102"/>
                  </a:cubicBezTo>
                  <a:cubicBezTo>
                    <a:pt x="13" y="102"/>
                    <a:pt x="0" y="88"/>
                    <a:pt x="0" y="7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7" y="0"/>
                    <a:pt x="61" y="14"/>
                    <a:pt x="61" y="30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88"/>
                    <a:pt x="47" y="102"/>
                    <a:pt x="30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7"/>
            <p:cNvSpPr>
              <a:spLocks/>
            </p:cNvSpPr>
            <p:nvPr userDrawn="1"/>
          </p:nvSpPr>
          <p:spPr bwMode="auto">
            <a:xfrm>
              <a:off x="1585913" y="4564063"/>
              <a:ext cx="193675" cy="325438"/>
            </a:xfrm>
            <a:custGeom>
              <a:avLst/>
              <a:gdLst>
                <a:gd name="T0" fmla="*/ 30 w 61"/>
                <a:gd name="T1" fmla="*/ 102 h 102"/>
                <a:gd name="T2" fmla="*/ 30 w 61"/>
                <a:gd name="T3" fmla="*/ 102 h 102"/>
                <a:gd name="T4" fmla="*/ 0 w 61"/>
                <a:gd name="T5" fmla="*/ 71 h 102"/>
                <a:gd name="T6" fmla="*/ 0 w 61"/>
                <a:gd name="T7" fmla="*/ 30 h 102"/>
                <a:gd name="T8" fmla="*/ 30 w 61"/>
                <a:gd name="T9" fmla="*/ 0 h 102"/>
                <a:gd name="T10" fmla="*/ 61 w 61"/>
                <a:gd name="T11" fmla="*/ 30 h 102"/>
                <a:gd name="T12" fmla="*/ 61 w 61"/>
                <a:gd name="T13" fmla="*/ 71 h 102"/>
                <a:gd name="T14" fmla="*/ 30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0" y="102"/>
                  </a:moveTo>
                  <a:cubicBezTo>
                    <a:pt x="30" y="102"/>
                    <a:pt x="30" y="102"/>
                    <a:pt x="30" y="102"/>
                  </a:cubicBezTo>
                  <a:cubicBezTo>
                    <a:pt x="13" y="102"/>
                    <a:pt x="0" y="88"/>
                    <a:pt x="0" y="7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7" y="0"/>
                    <a:pt x="61" y="14"/>
                    <a:pt x="61" y="30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88"/>
                    <a:pt x="47" y="102"/>
                    <a:pt x="30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8"/>
            <p:cNvSpPr>
              <a:spLocks/>
            </p:cNvSpPr>
            <p:nvPr userDrawn="1"/>
          </p:nvSpPr>
          <p:spPr bwMode="auto">
            <a:xfrm>
              <a:off x="3524250" y="4548188"/>
              <a:ext cx="325438" cy="809625"/>
            </a:xfrm>
            <a:custGeom>
              <a:avLst/>
              <a:gdLst>
                <a:gd name="T0" fmla="*/ 51 w 102"/>
                <a:gd name="T1" fmla="*/ 254 h 254"/>
                <a:gd name="T2" fmla="*/ 51 w 102"/>
                <a:gd name="T3" fmla="*/ 254 h 254"/>
                <a:gd name="T4" fmla="*/ 0 w 102"/>
                <a:gd name="T5" fmla="*/ 203 h 254"/>
                <a:gd name="T6" fmla="*/ 0 w 102"/>
                <a:gd name="T7" fmla="*/ 51 h 254"/>
                <a:gd name="T8" fmla="*/ 51 w 102"/>
                <a:gd name="T9" fmla="*/ 0 h 254"/>
                <a:gd name="T10" fmla="*/ 102 w 102"/>
                <a:gd name="T11" fmla="*/ 51 h 254"/>
                <a:gd name="T12" fmla="*/ 102 w 102"/>
                <a:gd name="T13" fmla="*/ 203 h 254"/>
                <a:gd name="T14" fmla="*/ 51 w 102"/>
                <a:gd name="T15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4">
                  <a:moveTo>
                    <a:pt x="51" y="254"/>
                  </a:moveTo>
                  <a:cubicBezTo>
                    <a:pt x="51" y="254"/>
                    <a:pt x="51" y="254"/>
                    <a:pt x="51" y="254"/>
                  </a:cubicBezTo>
                  <a:cubicBezTo>
                    <a:pt x="23" y="254"/>
                    <a:pt x="0" y="232"/>
                    <a:pt x="0" y="20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3"/>
                    <a:pt x="102" y="203"/>
                    <a:pt x="102" y="203"/>
                  </a:cubicBezTo>
                  <a:cubicBezTo>
                    <a:pt x="102" y="232"/>
                    <a:pt x="79" y="254"/>
                    <a:pt x="51" y="2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9"/>
            <p:cNvSpPr>
              <a:spLocks/>
            </p:cNvSpPr>
            <p:nvPr userDrawn="1"/>
          </p:nvSpPr>
          <p:spPr bwMode="auto">
            <a:xfrm>
              <a:off x="2393950" y="3462338"/>
              <a:ext cx="403225" cy="1814513"/>
            </a:xfrm>
            <a:custGeom>
              <a:avLst/>
              <a:gdLst>
                <a:gd name="T0" fmla="*/ 64 w 127"/>
                <a:gd name="T1" fmla="*/ 570 h 570"/>
                <a:gd name="T2" fmla="*/ 64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4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4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7" y="29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10"/>
            <p:cNvSpPr>
              <a:spLocks/>
            </p:cNvSpPr>
            <p:nvPr userDrawn="1"/>
          </p:nvSpPr>
          <p:spPr bwMode="auto">
            <a:xfrm>
              <a:off x="311150" y="3462338"/>
              <a:ext cx="406400" cy="1814513"/>
            </a:xfrm>
            <a:custGeom>
              <a:avLst/>
              <a:gdLst>
                <a:gd name="T0" fmla="*/ 64 w 128"/>
                <a:gd name="T1" fmla="*/ 570 h 570"/>
                <a:gd name="T2" fmla="*/ 64 w 128"/>
                <a:gd name="T3" fmla="*/ 570 h 570"/>
                <a:gd name="T4" fmla="*/ 0 w 128"/>
                <a:gd name="T5" fmla="*/ 506 h 570"/>
                <a:gd name="T6" fmla="*/ 0 w 128"/>
                <a:gd name="T7" fmla="*/ 64 h 570"/>
                <a:gd name="T8" fmla="*/ 64 w 128"/>
                <a:gd name="T9" fmla="*/ 0 h 570"/>
                <a:gd name="T10" fmla="*/ 128 w 128"/>
                <a:gd name="T11" fmla="*/ 64 h 570"/>
                <a:gd name="T12" fmla="*/ 128 w 128"/>
                <a:gd name="T13" fmla="*/ 506 h 570"/>
                <a:gd name="T14" fmla="*/ 64 w 128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506"/>
                    <a:pt x="128" y="506"/>
                    <a:pt x="128" y="506"/>
                  </a:cubicBezTo>
                  <a:cubicBezTo>
                    <a:pt x="128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11"/>
            <p:cNvSpPr>
              <a:spLocks/>
            </p:cNvSpPr>
            <p:nvPr userDrawn="1"/>
          </p:nvSpPr>
          <p:spPr bwMode="auto">
            <a:xfrm>
              <a:off x="2959100" y="4175125"/>
              <a:ext cx="403225" cy="1816100"/>
            </a:xfrm>
            <a:custGeom>
              <a:avLst/>
              <a:gdLst>
                <a:gd name="T0" fmla="*/ 64 w 127"/>
                <a:gd name="T1" fmla="*/ 570 h 570"/>
                <a:gd name="T2" fmla="*/ 64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4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4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8"/>
                    <a:pt x="29" y="0"/>
                    <a:pt x="64" y="0"/>
                  </a:cubicBezTo>
                  <a:cubicBezTo>
                    <a:pt x="99" y="0"/>
                    <a:pt x="127" y="28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12"/>
            <p:cNvSpPr>
              <a:spLocks noEditPoints="1"/>
            </p:cNvSpPr>
            <p:nvPr userDrawn="1"/>
          </p:nvSpPr>
          <p:spPr bwMode="auto">
            <a:xfrm>
              <a:off x="1131888" y="4548188"/>
              <a:ext cx="323850" cy="809625"/>
            </a:xfrm>
            <a:custGeom>
              <a:avLst/>
              <a:gdLst>
                <a:gd name="T0" fmla="*/ 51 w 102"/>
                <a:gd name="T1" fmla="*/ 10 h 254"/>
                <a:gd name="T2" fmla="*/ 92 w 102"/>
                <a:gd name="T3" fmla="*/ 51 h 254"/>
                <a:gd name="T4" fmla="*/ 92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0 w 102"/>
                <a:gd name="T17" fmla="*/ 51 h 254"/>
                <a:gd name="T18" fmla="*/ 0 w 102"/>
                <a:gd name="T19" fmla="*/ 203 h 254"/>
                <a:gd name="T20" fmla="*/ 51 w 102"/>
                <a:gd name="T21" fmla="*/ 254 h 254"/>
                <a:gd name="T22" fmla="*/ 102 w 102"/>
                <a:gd name="T23" fmla="*/ 203 h 254"/>
                <a:gd name="T24" fmla="*/ 102 w 102"/>
                <a:gd name="T25" fmla="*/ 51 h 254"/>
                <a:gd name="T26" fmla="*/ 51 w 102"/>
                <a:gd name="T2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4" y="10"/>
                    <a:pt x="92" y="28"/>
                    <a:pt x="92" y="5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26"/>
                    <a:pt x="74" y="244"/>
                    <a:pt x="51" y="244"/>
                  </a:cubicBezTo>
                  <a:cubicBezTo>
                    <a:pt x="29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9" y="10"/>
                    <a:pt x="51" y="10"/>
                  </a:cubicBezTo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2"/>
                    <a:pt x="23" y="254"/>
                    <a:pt x="51" y="254"/>
                  </a:cubicBezTo>
                  <a:cubicBezTo>
                    <a:pt x="79" y="254"/>
                    <a:pt x="102" y="232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13"/>
            <p:cNvSpPr>
              <a:spLocks noEditPoints="1"/>
            </p:cNvSpPr>
            <p:nvPr userDrawn="1"/>
          </p:nvSpPr>
          <p:spPr bwMode="auto">
            <a:xfrm>
              <a:off x="565150" y="4175125"/>
              <a:ext cx="404813" cy="1816100"/>
            </a:xfrm>
            <a:custGeom>
              <a:avLst/>
              <a:gdLst>
                <a:gd name="T0" fmla="*/ 64 w 127"/>
                <a:gd name="T1" fmla="*/ 10 h 570"/>
                <a:gd name="T2" fmla="*/ 117 w 127"/>
                <a:gd name="T3" fmla="*/ 64 h 570"/>
                <a:gd name="T4" fmla="*/ 117 w 127"/>
                <a:gd name="T5" fmla="*/ 506 h 570"/>
                <a:gd name="T6" fmla="*/ 64 w 127"/>
                <a:gd name="T7" fmla="*/ 560 h 570"/>
                <a:gd name="T8" fmla="*/ 10 w 127"/>
                <a:gd name="T9" fmla="*/ 506 h 570"/>
                <a:gd name="T10" fmla="*/ 10 w 127"/>
                <a:gd name="T11" fmla="*/ 64 h 570"/>
                <a:gd name="T12" fmla="*/ 64 w 127"/>
                <a:gd name="T13" fmla="*/ 10 h 570"/>
                <a:gd name="T14" fmla="*/ 64 w 127"/>
                <a:gd name="T15" fmla="*/ 0 h 570"/>
                <a:gd name="T16" fmla="*/ 0 w 127"/>
                <a:gd name="T17" fmla="*/ 64 h 570"/>
                <a:gd name="T18" fmla="*/ 0 w 127"/>
                <a:gd name="T19" fmla="*/ 506 h 570"/>
                <a:gd name="T20" fmla="*/ 64 w 127"/>
                <a:gd name="T21" fmla="*/ 570 h 570"/>
                <a:gd name="T22" fmla="*/ 127 w 127"/>
                <a:gd name="T23" fmla="*/ 506 h 570"/>
                <a:gd name="T24" fmla="*/ 127 w 127"/>
                <a:gd name="T25" fmla="*/ 64 h 570"/>
                <a:gd name="T26" fmla="*/ 64 w 127"/>
                <a:gd name="T2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570">
                  <a:moveTo>
                    <a:pt x="64" y="10"/>
                  </a:moveTo>
                  <a:cubicBezTo>
                    <a:pt x="93" y="10"/>
                    <a:pt x="117" y="34"/>
                    <a:pt x="117" y="64"/>
                  </a:cubicBezTo>
                  <a:cubicBezTo>
                    <a:pt x="117" y="506"/>
                    <a:pt x="117" y="506"/>
                    <a:pt x="117" y="506"/>
                  </a:cubicBezTo>
                  <a:cubicBezTo>
                    <a:pt x="117" y="536"/>
                    <a:pt x="93" y="560"/>
                    <a:pt x="64" y="560"/>
                  </a:cubicBezTo>
                  <a:cubicBezTo>
                    <a:pt x="34" y="560"/>
                    <a:pt x="10" y="536"/>
                    <a:pt x="10" y="506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34"/>
                    <a:pt x="34" y="10"/>
                    <a:pt x="64" y="10"/>
                  </a:cubicBezTo>
                  <a:moveTo>
                    <a:pt x="64" y="0"/>
                  </a:moveTo>
                  <a:cubicBezTo>
                    <a:pt x="29" y="0"/>
                    <a:pt x="0" y="28"/>
                    <a:pt x="0" y="64"/>
                  </a:cubicBezTo>
                  <a:cubicBezTo>
                    <a:pt x="0" y="506"/>
                    <a:pt x="0" y="506"/>
                    <a:pt x="0" y="506"/>
                  </a:cubicBezTo>
                  <a:cubicBezTo>
                    <a:pt x="0" y="541"/>
                    <a:pt x="29" y="570"/>
                    <a:pt x="64" y="570"/>
                  </a:cubicBezTo>
                  <a:cubicBezTo>
                    <a:pt x="99" y="570"/>
                    <a:pt x="127" y="541"/>
                    <a:pt x="127" y="506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28"/>
                    <a:pt x="99" y="0"/>
                    <a:pt x="6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14"/>
            <p:cNvSpPr>
              <a:spLocks/>
            </p:cNvSpPr>
            <p:nvPr userDrawn="1"/>
          </p:nvSpPr>
          <p:spPr bwMode="auto">
            <a:xfrm>
              <a:off x="10434638" y="4092575"/>
              <a:ext cx="323850" cy="812800"/>
            </a:xfrm>
            <a:custGeom>
              <a:avLst/>
              <a:gdLst>
                <a:gd name="T0" fmla="*/ 51 w 102"/>
                <a:gd name="T1" fmla="*/ 255 h 255"/>
                <a:gd name="T2" fmla="*/ 51 w 102"/>
                <a:gd name="T3" fmla="*/ 255 h 255"/>
                <a:gd name="T4" fmla="*/ 0 w 102"/>
                <a:gd name="T5" fmla="*/ 204 h 255"/>
                <a:gd name="T6" fmla="*/ 0 w 102"/>
                <a:gd name="T7" fmla="*/ 51 h 255"/>
                <a:gd name="T8" fmla="*/ 51 w 102"/>
                <a:gd name="T9" fmla="*/ 0 h 255"/>
                <a:gd name="T10" fmla="*/ 102 w 102"/>
                <a:gd name="T11" fmla="*/ 51 h 255"/>
                <a:gd name="T12" fmla="*/ 102 w 102"/>
                <a:gd name="T13" fmla="*/ 204 h 255"/>
                <a:gd name="T14" fmla="*/ 51 w 102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5">
                  <a:moveTo>
                    <a:pt x="51" y="255"/>
                  </a:moveTo>
                  <a:cubicBezTo>
                    <a:pt x="51" y="255"/>
                    <a:pt x="51" y="255"/>
                    <a:pt x="51" y="255"/>
                  </a:cubicBezTo>
                  <a:cubicBezTo>
                    <a:pt x="23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32"/>
                    <a:pt x="79" y="255"/>
                    <a:pt x="51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15"/>
            <p:cNvSpPr>
              <a:spLocks/>
            </p:cNvSpPr>
            <p:nvPr userDrawn="1"/>
          </p:nvSpPr>
          <p:spPr bwMode="auto">
            <a:xfrm>
              <a:off x="10110788" y="4564063"/>
              <a:ext cx="193675" cy="325438"/>
            </a:xfrm>
            <a:custGeom>
              <a:avLst/>
              <a:gdLst>
                <a:gd name="T0" fmla="*/ 31 w 61"/>
                <a:gd name="T1" fmla="*/ 102 h 102"/>
                <a:gd name="T2" fmla="*/ 31 w 61"/>
                <a:gd name="T3" fmla="*/ 102 h 102"/>
                <a:gd name="T4" fmla="*/ 0 w 61"/>
                <a:gd name="T5" fmla="*/ 71 h 102"/>
                <a:gd name="T6" fmla="*/ 0 w 61"/>
                <a:gd name="T7" fmla="*/ 30 h 102"/>
                <a:gd name="T8" fmla="*/ 31 w 61"/>
                <a:gd name="T9" fmla="*/ 0 h 102"/>
                <a:gd name="T10" fmla="*/ 61 w 61"/>
                <a:gd name="T11" fmla="*/ 30 h 102"/>
                <a:gd name="T12" fmla="*/ 61 w 61"/>
                <a:gd name="T13" fmla="*/ 71 h 102"/>
                <a:gd name="T14" fmla="*/ 31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1" y="102"/>
                  </a:moveTo>
                  <a:cubicBezTo>
                    <a:pt x="31" y="102"/>
                    <a:pt x="31" y="102"/>
                    <a:pt x="31" y="102"/>
                  </a:cubicBezTo>
                  <a:cubicBezTo>
                    <a:pt x="14" y="102"/>
                    <a:pt x="0" y="88"/>
                    <a:pt x="0" y="7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1" y="14"/>
                    <a:pt x="61" y="30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88"/>
                    <a:pt x="48" y="102"/>
                    <a:pt x="31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16"/>
            <p:cNvSpPr>
              <a:spLocks/>
            </p:cNvSpPr>
            <p:nvPr userDrawn="1"/>
          </p:nvSpPr>
          <p:spPr bwMode="auto">
            <a:xfrm>
              <a:off x="10920413" y="3462338"/>
              <a:ext cx="403225" cy="1814513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3" y="0"/>
                  </a:cubicBezTo>
                  <a:cubicBezTo>
                    <a:pt x="98" y="0"/>
                    <a:pt x="127" y="29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8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17"/>
            <p:cNvSpPr>
              <a:spLocks/>
            </p:cNvSpPr>
            <p:nvPr userDrawn="1"/>
          </p:nvSpPr>
          <p:spPr bwMode="auto">
            <a:xfrm>
              <a:off x="11487150" y="4175125"/>
              <a:ext cx="403225" cy="1816100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99" y="0"/>
                    <a:pt x="127" y="28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8"/>
            <p:cNvSpPr>
              <a:spLocks noEditPoints="1"/>
            </p:cNvSpPr>
            <p:nvPr userDrawn="1"/>
          </p:nvSpPr>
          <p:spPr bwMode="auto">
            <a:xfrm>
              <a:off x="8367713" y="4159250"/>
              <a:ext cx="325438" cy="809625"/>
            </a:xfrm>
            <a:custGeom>
              <a:avLst/>
              <a:gdLst>
                <a:gd name="T0" fmla="*/ 51 w 102"/>
                <a:gd name="T1" fmla="*/ 10 h 254"/>
                <a:gd name="T2" fmla="*/ 92 w 102"/>
                <a:gd name="T3" fmla="*/ 51 h 254"/>
                <a:gd name="T4" fmla="*/ 92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51 w 102"/>
                <a:gd name="T17" fmla="*/ 0 h 254"/>
                <a:gd name="T18" fmla="*/ 0 w 102"/>
                <a:gd name="T19" fmla="*/ 51 h 254"/>
                <a:gd name="T20" fmla="*/ 0 w 102"/>
                <a:gd name="T21" fmla="*/ 203 h 254"/>
                <a:gd name="T22" fmla="*/ 51 w 102"/>
                <a:gd name="T23" fmla="*/ 254 h 254"/>
                <a:gd name="T24" fmla="*/ 102 w 102"/>
                <a:gd name="T25" fmla="*/ 203 h 254"/>
                <a:gd name="T26" fmla="*/ 102 w 102"/>
                <a:gd name="T27" fmla="*/ 51 h 254"/>
                <a:gd name="T28" fmla="*/ 51 w 102"/>
                <a:gd name="T2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3" y="10"/>
                    <a:pt x="92" y="28"/>
                    <a:pt x="92" y="5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26"/>
                    <a:pt x="73" y="244"/>
                    <a:pt x="51" y="244"/>
                  </a:cubicBezTo>
                  <a:cubicBezTo>
                    <a:pt x="28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8" y="10"/>
                    <a:pt x="51" y="10"/>
                  </a:cubicBezTo>
                  <a:moveTo>
                    <a:pt x="51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3" y="254"/>
                    <a:pt x="51" y="254"/>
                  </a:cubicBezTo>
                  <a:cubicBezTo>
                    <a:pt x="79" y="254"/>
                    <a:pt x="102" y="231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9"/>
            <p:cNvSpPr>
              <a:spLocks/>
            </p:cNvSpPr>
            <p:nvPr userDrawn="1"/>
          </p:nvSpPr>
          <p:spPr bwMode="auto">
            <a:xfrm>
              <a:off x="9658350" y="4548188"/>
              <a:ext cx="322263" cy="809625"/>
            </a:xfrm>
            <a:custGeom>
              <a:avLst/>
              <a:gdLst>
                <a:gd name="T0" fmla="*/ 51 w 101"/>
                <a:gd name="T1" fmla="*/ 254 h 254"/>
                <a:gd name="T2" fmla="*/ 51 w 101"/>
                <a:gd name="T3" fmla="*/ 254 h 254"/>
                <a:gd name="T4" fmla="*/ 0 w 101"/>
                <a:gd name="T5" fmla="*/ 203 h 254"/>
                <a:gd name="T6" fmla="*/ 0 w 101"/>
                <a:gd name="T7" fmla="*/ 51 h 254"/>
                <a:gd name="T8" fmla="*/ 51 w 101"/>
                <a:gd name="T9" fmla="*/ 0 h 254"/>
                <a:gd name="T10" fmla="*/ 101 w 101"/>
                <a:gd name="T11" fmla="*/ 51 h 254"/>
                <a:gd name="T12" fmla="*/ 101 w 101"/>
                <a:gd name="T13" fmla="*/ 203 h 254"/>
                <a:gd name="T14" fmla="*/ 51 w 101"/>
                <a:gd name="T15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254">
                  <a:moveTo>
                    <a:pt x="51" y="254"/>
                  </a:moveTo>
                  <a:cubicBezTo>
                    <a:pt x="51" y="254"/>
                    <a:pt x="51" y="254"/>
                    <a:pt x="51" y="254"/>
                  </a:cubicBezTo>
                  <a:cubicBezTo>
                    <a:pt x="22" y="254"/>
                    <a:pt x="0" y="232"/>
                    <a:pt x="0" y="203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2" y="0"/>
                    <a:pt x="51" y="0"/>
                  </a:cubicBezTo>
                  <a:cubicBezTo>
                    <a:pt x="79" y="0"/>
                    <a:pt x="101" y="23"/>
                    <a:pt x="101" y="51"/>
                  </a:cubicBezTo>
                  <a:cubicBezTo>
                    <a:pt x="101" y="203"/>
                    <a:pt x="101" y="203"/>
                    <a:pt x="101" y="203"/>
                  </a:cubicBezTo>
                  <a:cubicBezTo>
                    <a:pt x="101" y="232"/>
                    <a:pt x="79" y="254"/>
                    <a:pt x="51" y="2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20"/>
            <p:cNvSpPr>
              <a:spLocks noEditPoints="1"/>
            </p:cNvSpPr>
            <p:nvPr userDrawn="1"/>
          </p:nvSpPr>
          <p:spPr bwMode="auto">
            <a:xfrm>
              <a:off x="8855075" y="3525838"/>
              <a:ext cx="403225" cy="1816100"/>
            </a:xfrm>
            <a:custGeom>
              <a:avLst/>
              <a:gdLst>
                <a:gd name="T0" fmla="*/ 63 w 127"/>
                <a:gd name="T1" fmla="*/ 11 h 570"/>
                <a:gd name="T2" fmla="*/ 117 w 127"/>
                <a:gd name="T3" fmla="*/ 64 h 570"/>
                <a:gd name="T4" fmla="*/ 117 w 127"/>
                <a:gd name="T5" fmla="*/ 507 h 570"/>
                <a:gd name="T6" fmla="*/ 63 w 127"/>
                <a:gd name="T7" fmla="*/ 560 h 570"/>
                <a:gd name="T8" fmla="*/ 10 w 127"/>
                <a:gd name="T9" fmla="*/ 507 h 570"/>
                <a:gd name="T10" fmla="*/ 10 w 127"/>
                <a:gd name="T11" fmla="*/ 64 h 570"/>
                <a:gd name="T12" fmla="*/ 63 w 127"/>
                <a:gd name="T13" fmla="*/ 11 h 570"/>
                <a:gd name="T14" fmla="*/ 63 w 127"/>
                <a:gd name="T15" fmla="*/ 0 h 570"/>
                <a:gd name="T16" fmla="*/ 0 w 127"/>
                <a:gd name="T17" fmla="*/ 64 h 570"/>
                <a:gd name="T18" fmla="*/ 0 w 127"/>
                <a:gd name="T19" fmla="*/ 507 h 570"/>
                <a:gd name="T20" fmla="*/ 63 w 127"/>
                <a:gd name="T21" fmla="*/ 570 h 570"/>
                <a:gd name="T22" fmla="*/ 127 w 127"/>
                <a:gd name="T23" fmla="*/ 507 h 570"/>
                <a:gd name="T24" fmla="*/ 127 w 127"/>
                <a:gd name="T25" fmla="*/ 64 h 570"/>
                <a:gd name="T26" fmla="*/ 63 w 127"/>
                <a:gd name="T2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570">
                  <a:moveTo>
                    <a:pt x="63" y="11"/>
                  </a:moveTo>
                  <a:cubicBezTo>
                    <a:pt x="93" y="11"/>
                    <a:pt x="117" y="35"/>
                    <a:pt x="117" y="64"/>
                  </a:cubicBezTo>
                  <a:cubicBezTo>
                    <a:pt x="117" y="507"/>
                    <a:pt x="117" y="507"/>
                    <a:pt x="117" y="507"/>
                  </a:cubicBezTo>
                  <a:cubicBezTo>
                    <a:pt x="117" y="536"/>
                    <a:pt x="93" y="560"/>
                    <a:pt x="63" y="560"/>
                  </a:cubicBezTo>
                  <a:cubicBezTo>
                    <a:pt x="34" y="560"/>
                    <a:pt x="10" y="536"/>
                    <a:pt x="10" y="507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35"/>
                    <a:pt x="34" y="11"/>
                    <a:pt x="63" y="11"/>
                  </a:cubicBezTo>
                  <a:moveTo>
                    <a:pt x="63" y="0"/>
                  </a:moveTo>
                  <a:cubicBezTo>
                    <a:pt x="28" y="0"/>
                    <a:pt x="0" y="29"/>
                    <a:pt x="0" y="64"/>
                  </a:cubicBezTo>
                  <a:cubicBezTo>
                    <a:pt x="0" y="507"/>
                    <a:pt x="0" y="507"/>
                    <a:pt x="0" y="507"/>
                  </a:cubicBezTo>
                  <a:cubicBezTo>
                    <a:pt x="0" y="542"/>
                    <a:pt x="28" y="570"/>
                    <a:pt x="63" y="570"/>
                  </a:cubicBezTo>
                  <a:cubicBezTo>
                    <a:pt x="98" y="570"/>
                    <a:pt x="127" y="542"/>
                    <a:pt x="127" y="507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29"/>
                    <a:pt x="98" y="0"/>
                    <a:pt x="6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21"/>
            <p:cNvSpPr>
              <a:spLocks noEditPoints="1"/>
            </p:cNvSpPr>
            <p:nvPr userDrawn="1"/>
          </p:nvSpPr>
          <p:spPr bwMode="auto">
            <a:xfrm>
              <a:off x="4075113" y="4159250"/>
              <a:ext cx="323850" cy="809625"/>
            </a:xfrm>
            <a:custGeom>
              <a:avLst/>
              <a:gdLst>
                <a:gd name="T0" fmla="*/ 51 w 102"/>
                <a:gd name="T1" fmla="*/ 10 h 254"/>
                <a:gd name="T2" fmla="*/ 92 w 102"/>
                <a:gd name="T3" fmla="*/ 51 h 254"/>
                <a:gd name="T4" fmla="*/ 92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0 w 102"/>
                <a:gd name="T17" fmla="*/ 51 h 254"/>
                <a:gd name="T18" fmla="*/ 0 w 102"/>
                <a:gd name="T19" fmla="*/ 203 h 254"/>
                <a:gd name="T20" fmla="*/ 51 w 102"/>
                <a:gd name="T21" fmla="*/ 254 h 254"/>
                <a:gd name="T22" fmla="*/ 102 w 102"/>
                <a:gd name="T23" fmla="*/ 203 h 254"/>
                <a:gd name="T24" fmla="*/ 102 w 102"/>
                <a:gd name="T25" fmla="*/ 51 h 254"/>
                <a:gd name="T26" fmla="*/ 51 w 102"/>
                <a:gd name="T2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4" y="10"/>
                    <a:pt x="92" y="28"/>
                    <a:pt x="92" y="51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26"/>
                    <a:pt x="74" y="244"/>
                    <a:pt x="51" y="244"/>
                  </a:cubicBezTo>
                  <a:cubicBezTo>
                    <a:pt x="29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9" y="10"/>
                    <a:pt x="51" y="10"/>
                  </a:cubicBezTo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3" y="254"/>
                    <a:pt x="51" y="254"/>
                  </a:cubicBezTo>
                  <a:cubicBezTo>
                    <a:pt x="79" y="254"/>
                    <a:pt x="102" y="231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22"/>
            <p:cNvSpPr>
              <a:spLocks noEditPoints="1"/>
            </p:cNvSpPr>
            <p:nvPr userDrawn="1"/>
          </p:nvSpPr>
          <p:spPr bwMode="auto">
            <a:xfrm>
              <a:off x="4560888" y="3525838"/>
              <a:ext cx="403225" cy="1816100"/>
            </a:xfrm>
            <a:custGeom>
              <a:avLst/>
              <a:gdLst>
                <a:gd name="T0" fmla="*/ 63 w 127"/>
                <a:gd name="T1" fmla="*/ 11 h 570"/>
                <a:gd name="T2" fmla="*/ 117 w 127"/>
                <a:gd name="T3" fmla="*/ 64 h 570"/>
                <a:gd name="T4" fmla="*/ 117 w 127"/>
                <a:gd name="T5" fmla="*/ 507 h 570"/>
                <a:gd name="T6" fmla="*/ 63 w 127"/>
                <a:gd name="T7" fmla="*/ 560 h 570"/>
                <a:gd name="T8" fmla="*/ 10 w 127"/>
                <a:gd name="T9" fmla="*/ 507 h 570"/>
                <a:gd name="T10" fmla="*/ 10 w 127"/>
                <a:gd name="T11" fmla="*/ 64 h 570"/>
                <a:gd name="T12" fmla="*/ 63 w 127"/>
                <a:gd name="T13" fmla="*/ 11 h 570"/>
                <a:gd name="T14" fmla="*/ 63 w 127"/>
                <a:gd name="T15" fmla="*/ 0 h 570"/>
                <a:gd name="T16" fmla="*/ 0 w 127"/>
                <a:gd name="T17" fmla="*/ 64 h 570"/>
                <a:gd name="T18" fmla="*/ 0 w 127"/>
                <a:gd name="T19" fmla="*/ 507 h 570"/>
                <a:gd name="T20" fmla="*/ 63 w 127"/>
                <a:gd name="T21" fmla="*/ 570 h 570"/>
                <a:gd name="T22" fmla="*/ 127 w 127"/>
                <a:gd name="T23" fmla="*/ 507 h 570"/>
                <a:gd name="T24" fmla="*/ 127 w 127"/>
                <a:gd name="T25" fmla="*/ 64 h 570"/>
                <a:gd name="T26" fmla="*/ 63 w 127"/>
                <a:gd name="T27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570">
                  <a:moveTo>
                    <a:pt x="63" y="11"/>
                  </a:moveTo>
                  <a:cubicBezTo>
                    <a:pt x="93" y="11"/>
                    <a:pt x="117" y="35"/>
                    <a:pt x="117" y="64"/>
                  </a:cubicBezTo>
                  <a:cubicBezTo>
                    <a:pt x="117" y="507"/>
                    <a:pt x="117" y="507"/>
                    <a:pt x="117" y="507"/>
                  </a:cubicBezTo>
                  <a:cubicBezTo>
                    <a:pt x="117" y="536"/>
                    <a:pt x="93" y="560"/>
                    <a:pt x="63" y="560"/>
                  </a:cubicBezTo>
                  <a:cubicBezTo>
                    <a:pt x="34" y="560"/>
                    <a:pt x="10" y="536"/>
                    <a:pt x="10" y="507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35"/>
                    <a:pt x="34" y="11"/>
                    <a:pt x="63" y="11"/>
                  </a:cubicBezTo>
                  <a:moveTo>
                    <a:pt x="63" y="0"/>
                  </a:moveTo>
                  <a:cubicBezTo>
                    <a:pt x="28" y="0"/>
                    <a:pt x="0" y="29"/>
                    <a:pt x="0" y="64"/>
                  </a:cubicBezTo>
                  <a:cubicBezTo>
                    <a:pt x="0" y="507"/>
                    <a:pt x="0" y="507"/>
                    <a:pt x="0" y="507"/>
                  </a:cubicBezTo>
                  <a:cubicBezTo>
                    <a:pt x="0" y="542"/>
                    <a:pt x="28" y="570"/>
                    <a:pt x="63" y="570"/>
                  </a:cubicBezTo>
                  <a:cubicBezTo>
                    <a:pt x="99" y="570"/>
                    <a:pt x="127" y="542"/>
                    <a:pt x="127" y="507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29"/>
                    <a:pt x="99" y="0"/>
                    <a:pt x="63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23"/>
            <p:cNvSpPr>
              <a:spLocks/>
            </p:cNvSpPr>
            <p:nvPr userDrawn="1"/>
          </p:nvSpPr>
          <p:spPr bwMode="auto">
            <a:xfrm>
              <a:off x="9093200" y="4175125"/>
              <a:ext cx="403225" cy="1816100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6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6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1"/>
                    <a:pt x="0" y="50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98" y="0"/>
                    <a:pt x="127" y="28"/>
                    <a:pt x="127" y="64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8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24"/>
            <p:cNvSpPr>
              <a:spLocks noEditPoints="1"/>
            </p:cNvSpPr>
            <p:nvPr userDrawn="1"/>
          </p:nvSpPr>
          <p:spPr bwMode="auto">
            <a:xfrm>
              <a:off x="5940425" y="3981450"/>
              <a:ext cx="323850" cy="808038"/>
            </a:xfrm>
            <a:custGeom>
              <a:avLst/>
              <a:gdLst>
                <a:gd name="T0" fmla="*/ 51 w 102"/>
                <a:gd name="T1" fmla="*/ 10 h 254"/>
                <a:gd name="T2" fmla="*/ 91 w 102"/>
                <a:gd name="T3" fmla="*/ 51 h 254"/>
                <a:gd name="T4" fmla="*/ 91 w 102"/>
                <a:gd name="T5" fmla="*/ 203 h 254"/>
                <a:gd name="T6" fmla="*/ 51 w 102"/>
                <a:gd name="T7" fmla="*/ 244 h 254"/>
                <a:gd name="T8" fmla="*/ 10 w 102"/>
                <a:gd name="T9" fmla="*/ 203 h 254"/>
                <a:gd name="T10" fmla="*/ 10 w 102"/>
                <a:gd name="T11" fmla="*/ 51 h 254"/>
                <a:gd name="T12" fmla="*/ 51 w 102"/>
                <a:gd name="T13" fmla="*/ 10 h 254"/>
                <a:gd name="T14" fmla="*/ 51 w 102"/>
                <a:gd name="T15" fmla="*/ 0 h 254"/>
                <a:gd name="T16" fmla="*/ 0 w 102"/>
                <a:gd name="T17" fmla="*/ 51 h 254"/>
                <a:gd name="T18" fmla="*/ 0 w 102"/>
                <a:gd name="T19" fmla="*/ 203 h 254"/>
                <a:gd name="T20" fmla="*/ 51 w 102"/>
                <a:gd name="T21" fmla="*/ 254 h 254"/>
                <a:gd name="T22" fmla="*/ 102 w 102"/>
                <a:gd name="T23" fmla="*/ 203 h 254"/>
                <a:gd name="T24" fmla="*/ 102 w 102"/>
                <a:gd name="T25" fmla="*/ 51 h 254"/>
                <a:gd name="T26" fmla="*/ 51 w 102"/>
                <a:gd name="T27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254">
                  <a:moveTo>
                    <a:pt x="51" y="10"/>
                  </a:moveTo>
                  <a:cubicBezTo>
                    <a:pt x="73" y="10"/>
                    <a:pt x="91" y="28"/>
                    <a:pt x="91" y="51"/>
                  </a:cubicBezTo>
                  <a:cubicBezTo>
                    <a:pt x="91" y="203"/>
                    <a:pt x="91" y="203"/>
                    <a:pt x="91" y="203"/>
                  </a:cubicBezTo>
                  <a:cubicBezTo>
                    <a:pt x="91" y="226"/>
                    <a:pt x="73" y="244"/>
                    <a:pt x="51" y="244"/>
                  </a:cubicBezTo>
                  <a:cubicBezTo>
                    <a:pt x="28" y="244"/>
                    <a:pt x="10" y="226"/>
                    <a:pt x="10" y="20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28"/>
                    <a:pt x="28" y="10"/>
                    <a:pt x="51" y="10"/>
                  </a:cubicBezTo>
                  <a:moveTo>
                    <a:pt x="51" y="0"/>
                  </a:moveTo>
                  <a:cubicBezTo>
                    <a:pt x="23" y="0"/>
                    <a:pt x="0" y="23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3" y="254"/>
                    <a:pt x="51" y="254"/>
                  </a:cubicBezTo>
                  <a:cubicBezTo>
                    <a:pt x="79" y="254"/>
                    <a:pt x="102" y="231"/>
                    <a:pt x="102" y="203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23"/>
                    <a:pt x="79" y="0"/>
                    <a:pt x="5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25"/>
            <p:cNvSpPr>
              <a:spLocks/>
            </p:cNvSpPr>
            <p:nvPr userDrawn="1"/>
          </p:nvSpPr>
          <p:spPr bwMode="auto">
            <a:xfrm>
              <a:off x="8008938" y="4449763"/>
              <a:ext cx="193675" cy="323850"/>
            </a:xfrm>
            <a:custGeom>
              <a:avLst/>
              <a:gdLst>
                <a:gd name="T0" fmla="*/ 31 w 61"/>
                <a:gd name="T1" fmla="*/ 102 h 102"/>
                <a:gd name="T2" fmla="*/ 31 w 61"/>
                <a:gd name="T3" fmla="*/ 102 h 102"/>
                <a:gd name="T4" fmla="*/ 0 w 61"/>
                <a:gd name="T5" fmla="*/ 72 h 102"/>
                <a:gd name="T6" fmla="*/ 0 w 61"/>
                <a:gd name="T7" fmla="*/ 31 h 102"/>
                <a:gd name="T8" fmla="*/ 31 w 61"/>
                <a:gd name="T9" fmla="*/ 0 h 102"/>
                <a:gd name="T10" fmla="*/ 61 w 61"/>
                <a:gd name="T11" fmla="*/ 31 h 102"/>
                <a:gd name="T12" fmla="*/ 61 w 61"/>
                <a:gd name="T13" fmla="*/ 72 h 102"/>
                <a:gd name="T14" fmla="*/ 31 w 61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102">
                  <a:moveTo>
                    <a:pt x="31" y="102"/>
                  </a:moveTo>
                  <a:cubicBezTo>
                    <a:pt x="31" y="102"/>
                    <a:pt x="31" y="102"/>
                    <a:pt x="31" y="102"/>
                  </a:cubicBezTo>
                  <a:cubicBezTo>
                    <a:pt x="14" y="102"/>
                    <a:pt x="0" y="89"/>
                    <a:pt x="0" y="72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7" y="0"/>
                    <a:pt x="61" y="14"/>
                    <a:pt x="61" y="31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89"/>
                    <a:pt x="47" y="102"/>
                    <a:pt x="31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26"/>
            <p:cNvSpPr>
              <a:spLocks noEditPoints="1"/>
            </p:cNvSpPr>
            <p:nvPr userDrawn="1"/>
          </p:nvSpPr>
          <p:spPr bwMode="auto">
            <a:xfrm>
              <a:off x="5616575" y="4449763"/>
              <a:ext cx="193675" cy="323850"/>
            </a:xfrm>
            <a:custGeom>
              <a:avLst/>
              <a:gdLst>
                <a:gd name="T0" fmla="*/ 30 w 61"/>
                <a:gd name="T1" fmla="*/ 11 h 102"/>
                <a:gd name="T2" fmla="*/ 51 w 61"/>
                <a:gd name="T3" fmla="*/ 31 h 102"/>
                <a:gd name="T4" fmla="*/ 51 w 61"/>
                <a:gd name="T5" fmla="*/ 72 h 102"/>
                <a:gd name="T6" fmla="*/ 30 w 61"/>
                <a:gd name="T7" fmla="*/ 92 h 102"/>
                <a:gd name="T8" fmla="*/ 10 w 61"/>
                <a:gd name="T9" fmla="*/ 72 h 102"/>
                <a:gd name="T10" fmla="*/ 10 w 61"/>
                <a:gd name="T11" fmla="*/ 31 h 102"/>
                <a:gd name="T12" fmla="*/ 30 w 61"/>
                <a:gd name="T13" fmla="*/ 11 h 102"/>
                <a:gd name="T14" fmla="*/ 30 w 61"/>
                <a:gd name="T15" fmla="*/ 0 h 102"/>
                <a:gd name="T16" fmla="*/ 0 w 61"/>
                <a:gd name="T17" fmla="*/ 31 h 102"/>
                <a:gd name="T18" fmla="*/ 0 w 61"/>
                <a:gd name="T19" fmla="*/ 72 h 102"/>
                <a:gd name="T20" fmla="*/ 30 w 61"/>
                <a:gd name="T21" fmla="*/ 102 h 102"/>
                <a:gd name="T22" fmla="*/ 61 w 61"/>
                <a:gd name="T23" fmla="*/ 72 h 102"/>
                <a:gd name="T24" fmla="*/ 61 w 61"/>
                <a:gd name="T25" fmla="*/ 31 h 102"/>
                <a:gd name="T26" fmla="*/ 30 w 61"/>
                <a:gd name="T27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102">
                  <a:moveTo>
                    <a:pt x="30" y="11"/>
                  </a:moveTo>
                  <a:cubicBezTo>
                    <a:pt x="42" y="11"/>
                    <a:pt x="51" y="20"/>
                    <a:pt x="51" y="31"/>
                  </a:cubicBezTo>
                  <a:cubicBezTo>
                    <a:pt x="51" y="72"/>
                    <a:pt x="51" y="72"/>
                    <a:pt x="51" y="72"/>
                  </a:cubicBezTo>
                  <a:cubicBezTo>
                    <a:pt x="51" y="83"/>
                    <a:pt x="42" y="92"/>
                    <a:pt x="30" y="92"/>
                  </a:cubicBezTo>
                  <a:cubicBezTo>
                    <a:pt x="19" y="92"/>
                    <a:pt x="10" y="83"/>
                    <a:pt x="10" y="72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20"/>
                    <a:pt x="19" y="11"/>
                    <a:pt x="30" y="11"/>
                  </a:cubicBezTo>
                  <a:moveTo>
                    <a:pt x="30" y="0"/>
                  </a:moveTo>
                  <a:cubicBezTo>
                    <a:pt x="14" y="0"/>
                    <a:pt x="0" y="14"/>
                    <a:pt x="0" y="31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89"/>
                    <a:pt x="14" y="102"/>
                    <a:pt x="30" y="102"/>
                  </a:cubicBezTo>
                  <a:cubicBezTo>
                    <a:pt x="47" y="102"/>
                    <a:pt x="61" y="89"/>
                    <a:pt x="61" y="72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14"/>
                    <a:pt x="47" y="0"/>
                    <a:pt x="3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27"/>
            <p:cNvSpPr>
              <a:spLocks/>
            </p:cNvSpPr>
            <p:nvPr userDrawn="1"/>
          </p:nvSpPr>
          <p:spPr bwMode="auto">
            <a:xfrm>
              <a:off x="7558088" y="4433888"/>
              <a:ext cx="320675" cy="811213"/>
            </a:xfrm>
            <a:custGeom>
              <a:avLst/>
              <a:gdLst>
                <a:gd name="T0" fmla="*/ 50 w 101"/>
                <a:gd name="T1" fmla="*/ 255 h 255"/>
                <a:gd name="T2" fmla="*/ 50 w 101"/>
                <a:gd name="T3" fmla="*/ 255 h 255"/>
                <a:gd name="T4" fmla="*/ 0 w 101"/>
                <a:gd name="T5" fmla="*/ 204 h 255"/>
                <a:gd name="T6" fmla="*/ 0 w 101"/>
                <a:gd name="T7" fmla="*/ 51 h 255"/>
                <a:gd name="T8" fmla="*/ 50 w 101"/>
                <a:gd name="T9" fmla="*/ 0 h 255"/>
                <a:gd name="T10" fmla="*/ 101 w 101"/>
                <a:gd name="T11" fmla="*/ 51 h 255"/>
                <a:gd name="T12" fmla="*/ 101 w 101"/>
                <a:gd name="T13" fmla="*/ 204 h 255"/>
                <a:gd name="T14" fmla="*/ 50 w 101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255">
                  <a:moveTo>
                    <a:pt x="50" y="255"/>
                  </a:moveTo>
                  <a:cubicBezTo>
                    <a:pt x="50" y="255"/>
                    <a:pt x="50" y="255"/>
                    <a:pt x="50" y="255"/>
                  </a:cubicBezTo>
                  <a:cubicBezTo>
                    <a:pt x="22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79" y="0"/>
                    <a:pt x="101" y="23"/>
                    <a:pt x="101" y="51"/>
                  </a:cubicBezTo>
                  <a:cubicBezTo>
                    <a:pt x="101" y="204"/>
                    <a:pt x="101" y="204"/>
                    <a:pt x="101" y="204"/>
                  </a:cubicBezTo>
                  <a:cubicBezTo>
                    <a:pt x="101" y="232"/>
                    <a:pt x="79" y="255"/>
                    <a:pt x="50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28"/>
            <p:cNvSpPr>
              <a:spLocks/>
            </p:cNvSpPr>
            <p:nvPr userDrawn="1"/>
          </p:nvSpPr>
          <p:spPr bwMode="auto">
            <a:xfrm>
              <a:off x="6423025" y="3348038"/>
              <a:ext cx="406400" cy="1814513"/>
            </a:xfrm>
            <a:custGeom>
              <a:avLst/>
              <a:gdLst>
                <a:gd name="T0" fmla="*/ 64 w 128"/>
                <a:gd name="T1" fmla="*/ 570 h 570"/>
                <a:gd name="T2" fmla="*/ 64 w 128"/>
                <a:gd name="T3" fmla="*/ 570 h 570"/>
                <a:gd name="T4" fmla="*/ 0 w 128"/>
                <a:gd name="T5" fmla="*/ 507 h 570"/>
                <a:gd name="T6" fmla="*/ 0 w 128"/>
                <a:gd name="T7" fmla="*/ 64 h 570"/>
                <a:gd name="T8" fmla="*/ 64 w 128"/>
                <a:gd name="T9" fmla="*/ 0 h 570"/>
                <a:gd name="T10" fmla="*/ 128 w 128"/>
                <a:gd name="T11" fmla="*/ 64 h 570"/>
                <a:gd name="T12" fmla="*/ 128 w 128"/>
                <a:gd name="T13" fmla="*/ 507 h 570"/>
                <a:gd name="T14" fmla="*/ 64 w 128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2"/>
                    <a:pt x="0" y="507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507"/>
                    <a:pt x="128" y="507"/>
                    <a:pt x="128" y="507"/>
                  </a:cubicBezTo>
                  <a:cubicBezTo>
                    <a:pt x="128" y="542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29"/>
            <p:cNvSpPr>
              <a:spLocks/>
            </p:cNvSpPr>
            <p:nvPr userDrawn="1"/>
          </p:nvSpPr>
          <p:spPr bwMode="auto">
            <a:xfrm>
              <a:off x="6992938" y="4060825"/>
              <a:ext cx="403225" cy="1816100"/>
            </a:xfrm>
            <a:custGeom>
              <a:avLst/>
              <a:gdLst>
                <a:gd name="T0" fmla="*/ 63 w 127"/>
                <a:gd name="T1" fmla="*/ 570 h 570"/>
                <a:gd name="T2" fmla="*/ 63 w 127"/>
                <a:gd name="T3" fmla="*/ 570 h 570"/>
                <a:gd name="T4" fmla="*/ 0 w 127"/>
                <a:gd name="T5" fmla="*/ 507 h 570"/>
                <a:gd name="T6" fmla="*/ 0 w 127"/>
                <a:gd name="T7" fmla="*/ 64 h 570"/>
                <a:gd name="T8" fmla="*/ 63 w 127"/>
                <a:gd name="T9" fmla="*/ 0 h 570"/>
                <a:gd name="T10" fmla="*/ 127 w 127"/>
                <a:gd name="T11" fmla="*/ 64 h 570"/>
                <a:gd name="T12" fmla="*/ 127 w 127"/>
                <a:gd name="T13" fmla="*/ 507 h 570"/>
                <a:gd name="T14" fmla="*/ 63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3" y="570"/>
                  </a:moveTo>
                  <a:cubicBezTo>
                    <a:pt x="63" y="570"/>
                    <a:pt x="63" y="570"/>
                    <a:pt x="63" y="570"/>
                  </a:cubicBezTo>
                  <a:cubicBezTo>
                    <a:pt x="28" y="570"/>
                    <a:pt x="0" y="542"/>
                    <a:pt x="0" y="507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3" y="0"/>
                  </a:cubicBezTo>
                  <a:cubicBezTo>
                    <a:pt x="98" y="0"/>
                    <a:pt x="127" y="29"/>
                    <a:pt x="127" y="64"/>
                  </a:cubicBezTo>
                  <a:cubicBezTo>
                    <a:pt x="127" y="507"/>
                    <a:pt x="127" y="507"/>
                    <a:pt x="127" y="507"/>
                  </a:cubicBezTo>
                  <a:cubicBezTo>
                    <a:pt x="127" y="542"/>
                    <a:pt x="98" y="570"/>
                    <a:pt x="63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30"/>
            <p:cNvSpPr>
              <a:spLocks/>
            </p:cNvSpPr>
            <p:nvPr userDrawn="1"/>
          </p:nvSpPr>
          <p:spPr bwMode="auto">
            <a:xfrm>
              <a:off x="5438775" y="4627563"/>
              <a:ext cx="323850" cy="812800"/>
            </a:xfrm>
            <a:custGeom>
              <a:avLst/>
              <a:gdLst>
                <a:gd name="T0" fmla="*/ 51 w 102"/>
                <a:gd name="T1" fmla="*/ 255 h 255"/>
                <a:gd name="T2" fmla="*/ 51 w 102"/>
                <a:gd name="T3" fmla="*/ 255 h 255"/>
                <a:gd name="T4" fmla="*/ 0 w 102"/>
                <a:gd name="T5" fmla="*/ 204 h 255"/>
                <a:gd name="T6" fmla="*/ 0 w 102"/>
                <a:gd name="T7" fmla="*/ 51 h 255"/>
                <a:gd name="T8" fmla="*/ 51 w 102"/>
                <a:gd name="T9" fmla="*/ 0 h 255"/>
                <a:gd name="T10" fmla="*/ 102 w 102"/>
                <a:gd name="T11" fmla="*/ 51 h 255"/>
                <a:gd name="T12" fmla="*/ 102 w 102"/>
                <a:gd name="T13" fmla="*/ 204 h 255"/>
                <a:gd name="T14" fmla="*/ 51 w 102"/>
                <a:gd name="T15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2" h="255">
                  <a:moveTo>
                    <a:pt x="51" y="255"/>
                  </a:moveTo>
                  <a:cubicBezTo>
                    <a:pt x="51" y="255"/>
                    <a:pt x="51" y="255"/>
                    <a:pt x="51" y="255"/>
                  </a:cubicBezTo>
                  <a:cubicBezTo>
                    <a:pt x="23" y="255"/>
                    <a:pt x="0" y="232"/>
                    <a:pt x="0" y="204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204"/>
                    <a:pt x="102" y="204"/>
                    <a:pt x="102" y="204"/>
                  </a:cubicBezTo>
                  <a:cubicBezTo>
                    <a:pt x="102" y="232"/>
                    <a:pt x="79" y="255"/>
                    <a:pt x="51" y="2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31"/>
            <p:cNvSpPr>
              <a:spLocks/>
            </p:cNvSpPr>
            <p:nvPr userDrawn="1"/>
          </p:nvSpPr>
          <p:spPr bwMode="auto">
            <a:xfrm>
              <a:off x="4872038" y="3981450"/>
              <a:ext cx="403225" cy="1814513"/>
            </a:xfrm>
            <a:custGeom>
              <a:avLst/>
              <a:gdLst>
                <a:gd name="T0" fmla="*/ 64 w 127"/>
                <a:gd name="T1" fmla="*/ 570 h 570"/>
                <a:gd name="T2" fmla="*/ 64 w 127"/>
                <a:gd name="T3" fmla="*/ 570 h 570"/>
                <a:gd name="T4" fmla="*/ 0 w 127"/>
                <a:gd name="T5" fmla="*/ 506 h 570"/>
                <a:gd name="T6" fmla="*/ 0 w 127"/>
                <a:gd name="T7" fmla="*/ 63 h 570"/>
                <a:gd name="T8" fmla="*/ 64 w 127"/>
                <a:gd name="T9" fmla="*/ 0 h 570"/>
                <a:gd name="T10" fmla="*/ 127 w 127"/>
                <a:gd name="T11" fmla="*/ 63 h 570"/>
                <a:gd name="T12" fmla="*/ 127 w 127"/>
                <a:gd name="T13" fmla="*/ 506 h 570"/>
                <a:gd name="T14" fmla="*/ 64 w 127"/>
                <a:gd name="T15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570">
                  <a:moveTo>
                    <a:pt x="64" y="570"/>
                  </a:moveTo>
                  <a:cubicBezTo>
                    <a:pt x="64" y="570"/>
                    <a:pt x="64" y="570"/>
                    <a:pt x="64" y="570"/>
                  </a:cubicBezTo>
                  <a:cubicBezTo>
                    <a:pt x="29" y="570"/>
                    <a:pt x="0" y="541"/>
                    <a:pt x="0" y="506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8"/>
                    <a:pt x="29" y="0"/>
                    <a:pt x="64" y="0"/>
                  </a:cubicBezTo>
                  <a:cubicBezTo>
                    <a:pt x="99" y="0"/>
                    <a:pt x="127" y="28"/>
                    <a:pt x="127" y="63"/>
                  </a:cubicBezTo>
                  <a:cubicBezTo>
                    <a:pt x="127" y="506"/>
                    <a:pt x="127" y="506"/>
                    <a:pt x="127" y="506"/>
                  </a:cubicBezTo>
                  <a:cubicBezTo>
                    <a:pt x="127" y="541"/>
                    <a:pt x="99" y="570"/>
                    <a:pt x="64" y="5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32"/>
            <p:cNvSpPr>
              <a:spLocks/>
            </p:cNvSpPr>
            <p:nvPr userDrawn="1"/>
          </p:nvSpPr>
          <p:spPr bwMode="auto">
            <a:xfrm>
              <a:off x="0" y="4095750"/>
              <a:ext cx="152400" cy="809625"/>
            </a:xfrm>
            <a:custGeom>
              <a:avLst/>
              <a:gdLst>
                <a:gd name="T0" fmla="*/ 0 w 48"/>
                <a:gd name="T1" fmla="*/ 0 h 254"/>
                <a:gd name="T2" fmla="*/ 0 w 48"/>
                <a:gd name="T3" fmla="*/ 254 h 254"/>
                <a:gd name="T4" fmla="*/ 48 w 48"/>
                <a:gd name="T5" fmla="*/ 203 h 254"/>
                <a:gd name="T6" fmla="*/ 48 w 48"/>
                <a:gd name="T7" fmla="*/ 50 h 254"/>
                <a:gd name="T8" fmla="*/ 0 w 48"/>
                <a:gd name="T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54">
                  <a:moveTo>
                    <a:pt x="0" y="0"/>
                  </a:moveTo>
                  <a:cubicBezTo>
                    <a:pt x="0" y="254"/>
                    <a:pt x="0" y="254"/>
                    <a:pt x="0" y="254"/>
                  </a:cubicBezTo>
                  <a:cubicBezTo>
                    <a:pt x="27" y="252"/>
                    <a:pt x="48" y="230"/>
                    <a:pt x="48" y="203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23"/>
                    <a:pt x="27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33"/>
            <p:cNvSpPr>
              <a:spLocks/>
            </p:cNvSpPr>
            <p:nvPr userDrawn="1"/>
          </p:nvSpPr>
          <p:spPr bwMode="auto">
            <a:xfrm>
              <a:off x="12052300" y="4548188"/>
              <a:ext cx="152400" cy="809625"/>
            </a:xfrm>
            <a:custGeom>
              <a:avLst/>
              <a:gdLst>
                <a:gd name="T0" fmla="*/ 48 w 48"/>
                <a:gd name="T1" fmla="*/ 0 h 254"/>
                <a:gd name="T2" fmla="*/ 0 w 48"/>
                <a:gd name="T3" fmla="*/ 51 h 254"/>
                <a:gd name="T4" fmla="*/ 0 w 48"/>
                <a:gd name="T5" fmla="*/ 203 h 254"/>
                <a:gd name="T6" fmla="*/ 48 w 48"/>
                <a:gd name="T7" fmla="*/ 254 h 254"/>
                <a:gd name="T8" fmla="*/ 48 w 48"/>
                <a:gd name="T9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254">
                  <a:moveTo>
                    <a:pt x="48" y="0"/>
                  </a:moveTo>
                  <a:cubicBezTo>
                    <a:pt x="20" y="2"/>
                    <a:pt x="0" y="24"/>
                    <a:pt x="0" y="5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0" y="231"/>
                    <a:pt x="20" y="253"/>
                    <a:pt x="48" y="254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7" name="Logotype, static"/>
          <p:cNvGrpSpPr/>
          <p:nvPr userDrawn="1"/>
        </p:nvGrpSpPr>
        <p:grpSpPr>
          <a:xfrm>
            <a:off x="10689465" y="6389301"/>
            <a:ext cx="863687" cy="180102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38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52632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chemeClr val="accent1"/>
          </a:solidFill>
        </p:grpSpPr>
        <p:sp>
          <p:nvSpPr>
            <p:cNvPr id="38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8264"/>
            <a:ext cx="7200000" cy="795474"/>
          </a:xfrm>
        </p:spPr>
        <p:txBody>
          <a:bodyPr/>
          <a:lstStyle>
            <a:lvl1pPr>
              <a:defRPr sz="29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133606"/>
            <a:ext cx="7200000" cy="7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b="1">
                <a:solidFill>
                  <a:schemeClr val="tx2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257191" indent="0">
              <a:buNone/>
              <a:defRPr sz="900">
                <a:solidFill>
                  <a:schemeClr val="bg1"/>
                </a:solidFill>
              </a:defRPr>
            </a:lvl2pPr>
            <a:lvl3pPr marL="514382" indent="0">
              <a:buNone/>
              <a:defRPr sz="900">
                <a:solidFill>
                  <a:schemeClr val="bg1"/>
                </a:solidFill>
              </a:defRPr>
            </a:lvl3pPr>
            <a:lvl4pPr marL="771574" indent="0">
              <a:buNone/>
              <a:defRPr sz="900">
                <a:solidFill>
                  <a:schemeClr val="bg1"/>
                </a:solidFill>
              </a:defRPr>
            </a:lvl4pPr>
            <a:lvl5pPr marL="1028765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1321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257191" indent="0">
              <a:buNone/>
              <a:defRPr sz="900">
                <a:solidFill>
                  <a:schemeClr val="bg1"/>
                </a:solidFill>
              </a:defRPr>
            </a:lvl2pPr>
            <a:lvl3pPr marL="514382" indent="0">
              <a:buNone/>
              <a:defRPr sz="900">
                <a:solidFill>
                  <a:schemeClr val="bg1"/>
                </a:solidFill>
              </a:defRPr>
            </a:lvl3pPr>
            <a:lvl4pPr marL="771574" indent="0">
              <a:buNone/>
              <a:defRPr sz="900">
                <a:solidFill>
                  <a:schemeClr val="bg1"/>
                </a:solidFill>
              </a:defRPr>
            </a:lvl4pPr>
            <a:lvl5pPr marL="1028765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  <a:endParaRPr lang="en-GB" dirty="0"/>
          </a:p>
        </p:txBody>
      </p:sp>
      <p:grpSp>
        <p:nvGrpSpPr>
          <p:cNvPr id="30" name="Logotype"/>
          <p:cNvGrpSpPr/>
          <p:nvPr userDrawn="1"/>
        </p:nvGrpSpPr>
        <p:grpSpPr>
          <a:xfrm>
            <a:off x="640800" y="532800"/>
            <a:ext cx="1384039" cy="288609"/>
            <a:chOff x="9501453" y="6148765"/>
            <a:chExt cx="2047875" cy="427037"/>
          </a:xfrm>
          <a:solidFill>
            <a:schemeClr val="bg2"/>
          </a:solidFill>
        </p:grpSpPr>
        <p:sp>
          <p:nvSpPr>
            <p:cNvPr id="31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408864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0" y="1339200"/>
            <a:ext cx="7200000" cy="795600"/>
          </a:xfrm>
        </p:spPr>
        <p:txBody>
          <a:bodyPr/>
          <a:lstStyle>
            <a:lvl1pPr>
              <a:defRPr sz="2900">
                <a:solidFill>
                  <a:srgbClr val="FBD9CA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0" y="2133606"/>
            <a:ext cx="7200000" cy="72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b="1">
                <a:solidFill>
                  <a:srgbClr val="FFFFFF"/>
                </a:solidFill>
              </a:defRPr>
            </a:lvl1pPr>
            <a:lvl2pPr marL="544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3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6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10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5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48000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  <a:lvl2pPr marL="257191" indent="0">
              <a:buNone/>
              <a:defRPr sz="900">
                <a:solidFill>
                  <a:schemeClr val="bg1"/>
                </a:solidFill>
              </a:defRPr>
            </a:lvl2pPr>
            <a:lvl3pPr marL="514382" indent="0">
              <a:buNone/>
              <a:defRPr sz="900">
                <a:solidFill>
                  <a:schemeClr val="bg1"/>
                </a:solidFill>
              </a:defRPr>
            </a:lvl3pPr>
            <a:lvl4pPr marL="771574" indent="0">
              <a:buNone/>
              <a:defRPr sz="900">
                <a:solidFill>
                  <a:schemeClr val="bg1"/>
                </a:solidFill>
              </a:defRPr>
            </a:lvl4pPr>
            <a:lvl5pPr marL="1028765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  <a:endParaRPr lang="en-GB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713211" y="3096000"/>
            <a:ext cx="1800225" cy="1260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  <a:lvl2pPr marL="257191" indent="0">
              <a:buNone/>
              <a:defRPr sz="900">
                <a:solidFill>
                  <a:schemeClr val="bg1"/>
                </a:solidFill>
              </a:defRPr>
            </a:lvl2pPr>
            <a:lvl3pPr marL="514382" indent="0">
              <a:buNone/>
              <a:defRPr sz="900">
                <a:solidFill>
                  <a:schemeClr val="bg1"/>
                </a:solidFill>
              </a:defRPr>
            </a:lvl3pPr>
            <a:lvl4pPr marL="771574" indent="0">
              <a:buNone/>
              <a:defRPr sz="900">
                <a:solidFill>
                  <a:schemeClr val="bg1"/>
                </a:solidFill>
              </a:defRPr>
            </a:lvl4pPr>
            <a:lvl5pPr marL="1028765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sclaimer text</a:t>
            </a:r>
            <a:endParaRPr lang="en-GB" dirty="0"/>
          </a:p>
        </p:txBody>
      </p:sp>
      <p:grpSp>
        <p:nvGrpSpPr>
          <p:cNvPr id="16" name="Pulse"/>
          <p:cNvGrpSpPr/>
          <p:nvPr userDrawn="1"/>
        </p:nvGrpSpPr>
        <p:grpSpPr>
          <a:xfrm>
            <a:off x="8751888" y="3030538"/>
            <a:ext cx="3446462" cy="3490913"/>
            <a:chOff x="8751888" y="3030538"/>
            <a:chExt cx="3446462" cy="3490913"/>
          </a:xfrm>
          <a:solidFill>
            <a:srgbClr val="0000FF"/>
          </a:solidFill>
        </p:grpSpPr>
        <p:sp>
          <p:nvSpPr>
            <p:cNvPr id="17" name="Freeform 5"/>
            <p:cNvSpPr>
              <a:spLocks/>
            </p:cNvSpPr>
            <p:nvPr userDrawn="1"/>
          </p:nvSpPr>
          <p:spPr bwMode="auto">
            <a:xfrm>
              <a:off x="9196388" y="3902076"/>
              <a:ext cx="449263" cy="1120775"/>
            </a:xfrm>
            <a:custGeom>
              <a:avLst/>
              <a:gdLst>
                <a:gd name="T0" fmla="*/ 71 w 142"/>
                <a:gd name="T1" fmla="*/ 355 h 355"/>
                <a:gd name="T2" fmla="*/ 71 w 142"/>
                <a:gd name="T3" fmla="*/ 355 h 355"/>
                <a:gd name="T4" fmla="*/ 0 w 142"/>
                <a:gd name="T5" fmla="*/ 284 h 355"/>
                <a:gd name="T6" fmla="*/ 0 w 142"/>
                <a:gd name="T7" fmla="*/ 71 h 355"/>
                <a:gd name="T8" fmla="*/ 71 w 142"/>
                <a:gd name="T9" fmla="*/ 0 h 355"/>
                <a:gd name="T10" fmla="*/ 142 w 142"/>
                <a:gd name="T11" fmla="*/ 71 h 355"/>
                <a:gd name="T12" fmla="*/ 142 w 142"/>
                <a:gd name="T13" fmla="*/ 284 h 355"/>
                <a:gd name="T14" fmla="*/ 71 w 142"/>
                <a:gd name="T15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5">
                  <a:moveTo>
                    <a:pt x="71" y="355"/>
                  </a:moveTo>
                  <a:cubicBezTo>
                    <a:pt x="71" y="355"/>
                    <a:pt x="71" y="355"/>
                    <a:pt x="71" y="355"/>
                  </a:cubicBezTo>
                  <a:cubicBezTo>
                    <a:pt x="32" y="355"/>
                    <a:pt x="0" y="323"/>
                    <a:pt x="0" y="284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4"/>
                    <a:pt x="142" y="284"/>
                    <a:pt x="142" y="284"/>
                  </a:cubicBezTo>
                  <a:cubicBezTo>
                    <a:pt x="142" y="323"/>
                    <a:pt x="110" y="355"/>
                    <a:pt x="71" y="35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6"/>
            <p:cNvSpPr>
              <a:spLocks/>
            </p:cNvSpPr>
            <p:nvPr userDrawn="1"/>
          </p:nvSpPr>
          <p:spPr bwMode="auto">
            <a:xfrm>
              <a:off x="8751888" y="4551363"/>
              <a:ext cx="265113" cy="449263"/>
            </a:xfrm>
            <a:custGeom>
              <a:avLst/>
              <a:gdLst>
                <a:gd name="T0" fmla="*/ 42 w 84"/>
                <a:gd name="T1" fmla="*/ 142 h 142"/>
                <a:gd name="T2" fmla="*/ 42 w 84"/>
                <a:gd name="T3" fmla="*/ 142 h 142"/>
                <a:gd name="T4" fmla="*/ 0 w 84"/>
                <a:gd name="T5" fmla="*/ 99 h 142"/>
                <a:gd name="T6" fmla="*/ 0 w 84"/>
                <a:gd name="T7" fmla="*/ 42 h 142"/>
                <a:gd name="T8" fmla="*/ 42 w 84"/>
                <a:gd name="T9" fmla="*/ 0 h 142"/>
                <a:gd name="T10" fmla="*/ 84 w 84"/>
                <a:gd name="T11" fmla="*/ 42 h 142"/>
                <a:gd name="T12" fmla="*/ 84 w 84"/>
                <a:gd name="T13" fmla="*/ 99 h 142"/>
                <a:gd name="T14" fmla="*/ 42 w 84"/>
                <a:gd name="T1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" h="142">
                  <a:moveTo>
                    <a:pt x="42" y="142"/>
                  </a:moveTo>
                  <a:cubicBezTo>
                    <a:pt x="42" y="142"/>
                    <a:pt x="42" y="142"/>
                    <a:pt x="42" y="142"/>
                  </a:cubicBezTo>
                  <a:cubicBezTo>
                    <a:pt x="18" y="142"/>
                    <a:pt x="0" y="123"/>
                    <a:pt x="0" y="99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8" y="0"/>
                    <a:pt x="42" y="0"/>
                  </a:cubicBezTo>
                  <a:cubicBezTo>
                    <a:pt x="65" y="0"/>
                    <a:pt x="84" y="19"/>
                    <a:pt x="84" y="42"/>
                  </a:cubicBezTo>
                  <a:cubicBezTo>
                    <a:pt x="84" y="99"/>
                    <a:pt x="84" y="99"/>
                    <a:pt x="84" y="99"/>
                  </a:cubicBezTo>
                  <a:cubicBezTo>
                    <a:pt x="84" y="123"/>
                    <a:pt x="65" y="142"/>
                    <a:pt x="42" y="14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7"/>
            <p:cNvSpPr>
              <a:spLocks/>
            </p:cNvSpPr>
            <p:nvPr userDrawn="1"/>
          </p:nvSpPr>
          <p:spPr bwMode="auto">
            <a:xfrm>
              <a:off x="11436350" y="4529138"/>
              <a:ext cx="449263" cy="1117600"/>
            </a:xfrm>
            <a:custGeom>
              <a:avLst/>
              <a:gdLst>
                <a:gd name="T0" fmla="*/ 71 w 142"/>
                <a:gd name="T1" fmla="*/ 354 h 354"/>
                <a:gd name="T2" fmla="*/ 71 w 142"/>
                <a:gd name="T3" fmla="*/ 354 h 354"/>
                <a:gd name="T4" fmla="*/ 0 w 142"/>
                <a:gd name="T5" fmla="*/ 283 h 354"/>
                <a:gd name="T6" fmla="*/ 0 w 142"/>
                <a:gd name="T7" fmla="*/ 71 h 354"/>
                <a:gd name="T8" fmla="*/ 71 w 142"/>
                <a:gd name="T9" fmla="*/ 0 h 354"/>
                <a:gd name="T10" fmla="*/ 142 w 142"/>
                <a:gd name="T11" fmla="*/ 71 h 354"/>
                <a:gd name="T12" fmla="*/ 142 w 142"/>
                <a:gd name="T13" fmla="*/ 283 h 354"/>
                <a:gd name="T14" fmla="*/ 71 w 142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2" h="354">
                  <a:moveTo>
                    <a:pt x="71" y="354"/>
                  </a:moveTo>
                  <a:cubicBezTo>
                    <a:pt x="71" y="354"/>
                    <a:pt x="71" y="354"/>
                    <a:pt x="71" y="354"/>
                  </a:cubicBezTo>
                  <a:cubicBezTo>
                    <a:pt x="32" y="354"/>
                    <a:pt x="0" y="322"/>
                    <a:pt x="0" y="2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2" y="0"/>
                    <a:pt x="71" y="0"/>
                  </a:cubicBezTo>
                  <a:cubicBezTo>
                    <a:pt x="110" y="0"/>
                    <a:pt x="142" y="32"/>
                    <a:pt x="142" y="71"/>
                  </a:cubicBezTo>
                  <a:cubicBezTo>
                    <a:pt x="142" y="283"/>
                    <a:pt x="142" y="283"/>
                    <a:pt x="142" y="283"/>
                  </a:cubicBezTo>
                  <a:cubicBezTo>
                    <a:pt x="142" y="322"/>
                    <a:pt x="110" y="354"/>
                    <a:pt x="71" y="3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8"/>
            <p:cNvSpPr>
              <a:spLocks/>
            </p:cNvSpPr>
            <p:nvPr userDrawn="1"/>
          </p:nvSpPr>
          <p:spPr bwMode="auto">
            <a:xfrm>
              <a:off x="9869488" y="3030538"/>
              <a:ext cx="560388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9 h 794"/>
                <a:gd name="T8" fmla="*/ 88 w 177"/>
                <a:gd name="T9" fmla="*/ 0 h 794"/>
                <a:gd name="T10" fmla="*/ 177 w 177"/>
                <a:gd name="T11" fmla="*/ 89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9"/>
            <p:cNvSpPr>
              <a:spLocks/>
            </p:cNvSpPr>
            <p:nvPr userDrawn="1"/>
          </p:nvSpPr>
          <p:spPr bwMode="auto">
            <a:xfrm>
              <a:off x="10653713" y="4014788"/>
              <a:ext cx="558800" cy="2506663"/>
            </a:xfrm>
            <a:custGeom>
              <a:avLst/>
              <a:gdLst>
                <a:gd name="T0" fmla="*/ 88 w 177"/>
                <a:gd name="T1" fmla="*/ 794 h 794"/>
                <a:gd name="T2" fmla="*/ 88 w 177"/>
                <a:gd name="T3" fmla="*/ 794 h 794"/>
                <a:gd name="T4" fmla="*/ 0 w 177"/>
                <a:gd name="T5" fmla="*/ 705 h 794"/>
                <a:gd name="T6" fmla="*/ 0 w 177"/>
                <a:gd name="T7" fmla="*/ 88 h 794"/>
                <a:gd name="T8" fmla="*/ 88 w 177"/>
                <a:gd name="T9" fmla="*/ 0 h 794"/>
                <a:gd name="T10" fmla="*/ 177 w 177"/>
                <a:gd name="T11" fmla="*/ 88 h 794"/>
                <a:gd name="T12" fmla="*/ 177 w 177"/>
                <a:gd name="T13" fmla="*/ 705 h 794"/>
                <a:gd name="T14" fmla="*/ 88 w 177"/>
                <a:gd name="T15" fmla="*/ 794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794">
                  <a:moveTo>
                    <a:pt x="88" y="794"/>
                  </a:moveTo>
                  <a:cubicBezTo>
                    <a:pt x="88" y="794"/>
                    <a:pt x="88" y="794"/>
                    <a:pt x="88" y="794"/>
                  </a:cubicBezTo>
                  <a:cubicBezTo>
                    <a:pt x="40" y="794"/>
                    <a:pt x="0" y="754"/>
                    <a:pt x="0" y="705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8"/>
                  </a:cubicBezTo>
                  <a:cubicBezTo>
                    <a:pt x="177" y="705"/>
                    <a:pt x="177" y="705"/>
                    <a:pt x="177" y="705"/>
                  </a:cubicBezTo>
                  <a:cubicBezTo>
                    <a:pt x="177" y="754"/>
                    <a:pt x="137" y="794"/>
                    <a:pt x="88" y="7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12058650" y="4551363"/>
              <a:ext cx="139700" cy="449263"/>
            </a:xfrm>
            <a:custGeom>
              <a:avLst/>
              <a:gdLst>
                <a:gd name="T0" fmla="*/ 44 w 44"/>
                <a:gd name="T1" fmla="*/ 0 h 142"/>
                <a:gd name="T2" fmla="*/ 0 w 44"/>
                <a:gd name="T3" fmla="*/ 42 h 142"/>
                <a:gd name="T4" fmla="*/ 0 w 44"/>
                <a:gd name="T5" fmla="*/ 99 h 142"/>
                <a:gd name="T6" fmla="*/ 44 w 44"/>
                <a:gd name="T7" fmla="*/ 142 h 142"/>
                <a:gd name="T8" fmla="*/ 44 w 44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142">
                  <a:moveTo>
                    <a:pt x="44" y="0"/>
                  </a:moveTo>
                  <a:cubicBezTo>
                    <a:pt x="20" y="0"/>
                    <a:pt x="0" y="19"/>
                    <a:pt x="0" y="42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23"/>
                    <a:pt x="20" y="142"/>
                    <a:pt x="44" y="142"/>
                  </a:cubicBez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8" name="Logotype"/>
          <p:cNvGrpSpPr/>
          <p:nvPr userDrawn="1"/>
        </p:nvGrpSpPr>
        <p:grpSpPr>
          <a:xfrm>
            <a:off x="641350" y="530890"/>
            <a:ext cx="1384039" cy="288609"/>
            <a:chOff x="9501453" y="6148765"/>
            <a:chExt cx="2047875" cy="427037"/>
          </a:xfrm>
          <a:solidFill>
            <a:schemeClr val="bg1"/>
          </a:solidFill>
        </p:grpSpPr>
        <p:sp>
          <p:nvSpPr>
            <p:cNvPr id="19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196530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7999" y="1332000"/>
            <a:ext cx="7200000" cy="4428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4101218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92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644096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480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59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8067600" y="1332000"/>
            <a:ext cx="3492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888197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817322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664259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7200000" cy="72016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92000" y="1332000"/>
            <a:ext cx="5364000" cy="44316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48000" y="1332000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6940792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60083"/>
            <a:ext cx="8064000" cy="72016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00" y="1332000"/>
            <a:ext cx="5364000" cy="442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192000" y="1332000"/>
            <a:ext cx="5364000" cy="44280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en-GB"/>
              <a:t>Pictur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9876918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7999" y="360083"/>
            <a:ext cx="7200000" cy="72016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7999" y="1332000"/>
            <a:ext cx="10908000" cy="44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8000" y="6375018"/>
            <a:ext cx="324000" cy="1440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8B8A8D"/>
                </a:solidFill>
              </a:defRPr>
            </a:lvl1pPr>
          </a:lstStyle>
          <a:p>
            <a:fld id="{D14BCCD3-0010-4FBA-B965-2126ADC319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648000" y="6318000"/>
            <a:ext cx="10893600" cy="0"/>
          </a:xfrm>
          <a:prstGeom prst="line">
            <a:avLst/>
          </a:prstGeom>
          <a:ln w="9525">
            <a:solidFill>
              <a:srgbClr val="8B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Line 11"/>
          <p:cNvSpPr>
            <a:spLocks noChangeShapeType="1"/>
          </p:cNvSpPr>
          <p:nvPr userDrawn="1"/>
        </p:nvSpPr>
        <p:spPr bwMode="auto">
          <a:xfrm>
            <a:off x="6494463" y="3467100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6494463" y="3467100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8" name="Line 13"/>
          <p:cNvSpPr>
            <a:spLocks noChangeShapeType="1"/>
          </p:cNvSpPr>
          <p:nvPr userDrawn="1"/>
        </p:nvSpPr>
        <p:spPr bwMode="auto">
          <a:xfrm>
            <a:off x="6675438" y="3414713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9" name="Line 14"/>
          <p:cNvSpPr>
            <a:spLocks noChangeShapeType="1"/>
          </p:cNvSpPr>
          <p:nvPr userDrawn="1"/>
        </p:nvSpPr>
        <p:spPr bwMode="auto">
          <a:xfrm>
            <a:off x="6675438" y="3414713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" name="Logotype, static"/>
          <p:cNvGrpSpPr/>
          <p:nvPr userDrawn="1"/>
        </p:nvGrpSpPr>
        <p:grpSpPr>
          <a:xfrm>
            <a:off x="10689465" y="6389301"/>
            <a:ext cx="863687" cy="180102"/>
            <a:chOff x="9501453" y="6148765"/>
            <a:chExt cx="2047875" cy="427037"/>
          </a:xfrm>
        </p:grpSpPr>
        <p:sp>
          <p:nvSpPr>
            <p:cNvPr id="22" name="Freeform 5"/>
            <p:cNvSpPr>
              <a:spLocks noEditPoints="1"/>
            </p:cNvSpPr>
            <p:nvPr userDrawn="1"/>
          </p:nvSpPr>
          <p:spPr bwMode="auto">
            <a:xfrm>
              <a:off x="11206428" y="6231315"/>
              <a:ext cx="342900" cy="344487"/>
            </a:xfrm>
            <a:custGeom>
              <a:avLst/>
              <a:gdLst>
                <a:gd name="T0" fmla="*/ 43 w 91"/>
                <a:gd name="T1" fmla="*/ 2 h 91"/>
                <a:gd name="T2" fmla="*/ 2 w 91"/>
                <a:gd name="T3" fmla="*/ 44 h 91"/>
                <a:gd name="T4" fmla="*/ 46 w 91"/>
                <a:gd name="T5" fmla="*/ 91 h 91"/>
                <a:gd name="T6" fmla="*/ 74 w 91"/>
                <a:gd name="T7" fmla="*/ 77 h 91"/>
                <a:gd name="T8" fmla="*/ 74 w 91"/>
                <a:gd name="T9" fmla="*/ 90 h 91"/>
                <a:gd name="T10" fmla="*/ 91 w 91"/>
                <a:gd name="T11" fmla="*/ 90 h 91"/>
                <a:gd name="T12" fmla="*/ 91 w 91"/>
                <a:gd name="T13" fmla="*/ 47 h 91"/>
                <a:gd name="T14" fmla="*/ 43 w 91"/>
                <a:gd name="T15" fmla="*/ 2 h 91"/>
                <a:gd name="T16" fmla="*/ 72 w 91"/>
                <a:gd name="T17" fmla="*/ 48 h 91"/>
                <a:gd name="T18" fmla="*/ 43 w 91"/>
                <a:gd name="T19" fmla="*/ 72 h 91"/>
                <a:gd name="T20" fmla="*/ 21 w 91"/>
                <a:gd name="T21" fmla="*/ 50 h 91"/>
                <a:gd name="T22" fmla="*/ 46 w 91"/>
                <a:gd name="T23" fmla="*/ 21 h 91"/>
                <a:gd name="T24" fmla="*/ 72 w 91"/>
                <a:gd name="T25" fmla="*/ 45 h 91"/>
                <a:gd name="T26" fmla="*/ 72 w 91"/>
                <a:gd name="T27" fmla="*/ 4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" h="91">
                  <a:moveTo>
                    <a:pt x="43" y="2"/>
                  </a:moveTo>
                  <a:cubicBezTo>
                    <a:pt x="21" y="4"/>
                    <a:pt x="3" y="22"/>
                    <a:pt x="2" y="44"/>
                  </a:cubicBezTo>
                  <a:cubicBezTo>
                    <a:pt x="0" y="70"/>
                    <a:pt x="21" y="91"/>
                    <a:pt x="46" y="91"/>
                  </a:cubicBezTo>
                  <a:cubicBezTo>
                    <a:pt x="56" y="91"/>
                    <a:pt x="68" y="87"/>
                    <a:pt x="74" y="77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91" y="20"/>
                    <a:pt x="69" y="0"/>
                    <a:pt x="43" y="2"/>
                  </a:cubicBezTo>
                  <a:close/>
                  <a:moveTo>
                    <a:pt x="72" y="48"/>
                  </a:moveTo>
                  <a:cubicBezTo>
                    <a:pt x="71" y="63"/>
                    <a:pt x="58" y="74"/>
                    <a:pt x="43" y="72"/>
                  </a:cubicBezTo>
                  <a:cubicBezTo>
                    <a:pt x="32" y="71"/>
                    <a:pt x="22" y="61"/>
                    <a:pt x="21" y="50"/>
                  </a:cubicBezTo>
                  <a:cubicBezTo>
                    <a:pt x="19" y="34"/>
                    <a:pt x="31" y="21"/>
                    <a:pt x="46" y="21"/>
                  </a:cubicBezTo>
                  <a:cubicBezTo>
                    <a:pt x="60" y="21"/>
                    <a:pt x="71" y="32"/>
                    <a:pt x="72" y="45"/>
                  </a:cubicBezTo>
                  <a:lnTo>
                    <a:pt x="72" y="48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6"/>
            <p:cNvSpPr>
              <a:spLocks noEditPoints="1"/>
            </p:cNvSpPr>
            <p:nvPr userDrawn="1"/>
          </p:nvSpPr>
          <p:spPr bwMode="auto">
            <a:xfrm>
              <a:off x="10849241" y="6236077"/>
              <a:ext cx="334963" cy="339725"/>
            </a:xfrm>
            <a:custGeom>
              <a:avLst/>
              <a:gdLst>
                <a:gd name="T0" fmla="*/ 44 w 89"/>
                <a:gd name="T1" fmla="*/ 1 h 90"/>
                <a:gd name="T2" fmla="*/ 0 w 89"/>
                <a:gd name="T3" fmla="*/ 46 h 90"/>
                <a:gd name="T4" fmla="*/ 45 w 89"/>
                <a:gd name="T5" fmla="*/ 90 h 90"/>
                <a:gd name="T6" fmla="*/ 86 w 89"/>
                <a:gd name="T7" fmla="*/ 63 h 90"/>
                <a:gd name="T8" fmla="*/ 69 w 89"/>
                <a:gd name="T9" fmla="*/ 58 h 90"/>
                <a:gd name="T10" fmla="*/ 50 w 89"/>
                <a:gd name="T11" fmla="*/ 72 h 90"/>
                <a:gd name="T12" fmla="*/ 22 w 89"/>
                <a:gd name="T13" fmla="*/ 59 h 90"/>
                <a:gd name="T14" fmla="*/ 89 w 89"/>
                <a:gd name="T15" fmla="*/ 41 h 90"/>
                <a:gd name="T16" fmla="*/ 44 w 89"/>
                <a:gd name="T17" fmla="*/ 1 h 90"/>
                <a:gd name="T18" fmla="*/ 19 w 89"/>
                <a:gd name="T19" fmla="*/ 44 h 90"/>
                <a:gd name="T20" fmla="*/ 36 w 89"/>
                <a:gd name="T21" fmla="*/ 19 h 90"/>
                <a:gd name="T22" fmla="*/ 67 w 89"/>
                <a:gd name="T23" fmla="*/ 31 h 90"/>
                <a:gd name="T24" fmla="*/ 19 w 89"/>
                <a:gd name="T25" fmla="*/ 4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90">
                  <a:moveTo>
                    <a:pt x="44" y="1"/>
                  </a:moveTo>
                  <a:cubicBezTo>
                    <a:pt x="20" y="2"/>
                    <a:pt x="0" y="20"/>
                    <a:pt x="0" y="46"/>
                  </a:cubicBezTo>
                  <a:cubicBezTo>
                    <a:pt x="0" y="70"/>
                    <a:pt x="20" y="90"/>
                    <a:pt x="45" y="90"/>
                  </a:cubicBezTo>
                  <a:cubicBezTo>
                    <a:pt x="62" y="90"/>
                    <a:pt x="79" y="80"/>
                    <a:pt x="86" y="63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6" y="65"/>
                    <a:pt x="58" y="71"/>
                    <a:pt x="50" y="72"/>
                  </a:cubicBezTo>
                  <a:cubicBezTo>
                    <a:pt x="38" y="75"/>
                    <a:pt x="26" y="67"/>
                    <a:pt x="22" y="59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87" y="24"/>
                    <a:pt x="72" y="0"/>
                    <a:pt x="44" y="1"/>
                  </a:cubicBezTo>
                  <a:close/>
                  <a:moveTo>
                    <a:pt x="19" y="44"/>
                  </a:moveTo>
                  <a:cubicBezTo>
                    <a:pt x="19" y="34"/>
                    <a:pt x="24" y="24"/>
                    <a:pt x="36" y="19"/>
                  </a:cubicBezTo>
                  <a:cubicBezTo>
                    <a:pt x="50" y="14"/>
                    <a:pt x="62" y="21"/>
                    <a:pt x="67" y="31"/>
                  </a:cubicBezTo>
                  <a:lnTo>
                    <a:pt x="19" y="44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7"/>
            <p:cNvSpPr>
              <a:spLocks/>
            </p:cNvSpPr>
            <p:nvPr userDrawn="1"/>
          </p:nvSpPr>
          <p:spPr bwMode="auto">
            <a:xfrm>
              <a:off x="10292028" y="6239252"/>
              <a:ext cx="166688" cy="333375"/>
            </a:xfrm>
            <a:custGeom>
              <a:avLst/>
              <a:gdLst>
                <a:gd name="T0" fmla="*/ 44 w 44"/>
                <a:gd name="T1" fmla="*/ 18 h 88"/>
                <a:gd name="T2" fmla="*/ 44 w 44"/>
                <a:gd name="T3" fmla="*/ 0 h 88"/>
                <a:gd name="T4" fmla="*/ 19 w 44"/>
                <a:gd name="T5" fmla="*/ 13 h 88"/>
                <a:gd name="T6" fmla="*/ 19 w 44"/>
                <a:gd name="T7" fmla="*/ 3 h 88"/>
                <a:gd name="T8" fmla="*/ 0 w 44"/>
                <a:gd name="T9" fmla="*/ 3 h 88"/>
                <a:gd name="T10" fmla="*/ 0 w 44"/>
                <a:gd name="T11" fmla="*/ 44 h 88"/>
                <a:gd name="T12" fmla="*/ 0 w 44"/>
                <a:gd name="T13" fmla="*/ 88 h 88"/>
                <a:gd name="T14" fmla="*/ 20 w 44"/>
                <a:gd name="T15" fmla="*/ 88 h 88"/>
                <a:gd name="T16" fmla="*/ 20 w 44"/>
                <a:gd name="T17" fmla="*/ 46 h 88"/>
                <a:gd name="T18" fmla="*/ 44 w 44"/>
                <a:gd name="T19" fmla="*/ 1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88">
                  <a:moveTo>
                    <a:pt x="44" y="18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8" y="0"/>
                    <a:pt x="22" y="8"/>
                    <a:pt x="19" y="1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62"/>
                    <a:pt x="20" y="62"/>
                    <a:pt x="20" y="46"/>
                  </a:cubicBezTo>
                  <a:cubicBezTo>
                    <a:pt x="20" y="26"/>
                    <a:pt x="31" y="19"/>
                    <a:pt x="44" y="18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9501453" y="6182102"/>
              <a:ext cx="369888" cy="390525"/>
            </a:xfrm>
            <a:custGeom>
              <a:avLst/>
              <a:gdLst>
                <a:gd name="T0" fmla="*/ 185 w 233"/>
                <a:gd name="T1" fmla="*/ 165 h 246"/>
                <a:gd name="T2" fmla="*/ 48 w 233"/>
                <a:gd name="T3" fmla="*/ 0 h 246"/>
                <a:gd name="T4" fmla="*/ 0 w 233"/>
                <a:gd name="T5" fmla="*/ 0 h 246"/>
                <a:gd name="T6" fmla="*/ 0 w 233"/>
                <a:gd name="T7" fmla="*/ 246 h 246"/>
                <a:gd name="T8" fmla="*/ 50 w 233"/>
                <a:gd name="T9" fmla="*/ 246 h 246"/>
                <a:gd name="T10" fmla="*/ 50 w 233"/>
                <a:gd name="T11" fmla="*/ 81 h 246"/>
                <a:gd name="T12" fmla="*/ 190 w 233"/>
                <a:gd name="T13" fmla="*/ 246 h 246"/>
                <a:gd name="T14" fmla="*/ 233 w 233"/>
                <a:gd name="T15" fmla="*/ 246 h 246"/>
                <a:gd name="T16" fmla="*/ 233 w 233"/>
                <a:gd name="T17" fmla="*/ 0 h 246"/>
                <a:gd name="T18" fmla="*/ 185 w 233"/>
                <a:gd name="T19" fmla="*/ 0 h 246"/>
                <a:gd name="T20" fmla="*/ 185 w 233"/>
                <a:gd name="T21" fmla="*/ 165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3" h="246">
                  <a:moveTo>
                    <a:pt x="185" y="165"/>
                  </a:moveTo>
                  <a:lnTo>
                    <a:pt x="48" y="0"/>
                  </a:lnTo>
                  <a:lnTo>
                    <a:pt x="0" y="0"/>
                  </a:lnTo>
                  <a:lnTo>
                    <a:pt x="0" y="246"/>
                  </a:lnTo>
                  <a:lnTo>
                    <a:pt x="50" y="246"/>
                  </a:lnTo>
                  <a:lnTo>
                    <a:pt x="50" y="81"/>
                  </a:lnTo>
                  <a:lnTo>
                    <a:pt x="190" y="246"/>
                  </a:lnTo>
                  <a:lnTo>
                    <a:pt x="233" y="246"/>
                  </a:lnTo>
                  <a:lnTo>
                    <a:pt x="233" y="0"/>
                  </a:lnTo>
                  <a:lnTo>
                    <a:pt x="185" y="0"/>
                  </a:lnTo>
                  <a:lnTo>
                    <a:pt x="185" y="165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10461891" y="6148765"/>
              <a:ext cx="342900" cy="427037"/>
            </a:xfrm>
            <a:custGeom>
              <a:avLst/>
              <a:gdLst>
                <a:gd name="T0" fmla="*/ 91 w 91"/>
                <a:gd name="T1" fmla="*/ 0 h 113"/>
                <a:gd name="T2" fmla="*/ 73 w 91"/>
                <a:gd name="T3" fmla="*/ 0 h 113"/>
                <a:gd name="T4" fmla="*/ 73 w 91"/>
                <a:gd name="T5" fmla="*/ 34 h 113"/>
                <a:gd name="T6" fmla="*/ 43 w 91"/>
                <a:gd name="T7" fmla="*/ 24 h 113"/>
                <a:gd name="T8" fmla="*/ 2 w 91"/>
                <a:gd name="T9" fmla="*/ 66 h 113"/>
                <a:gd name="T10" fmla="*/ 46 w 91"/>
                <a:gd name="T11" fmla="*/ 113 h 113"/>
                <a:gd name="T12" fmla="*/ 74 w 91"/>
                <a:gd name="T13" fmla="*/ 101 h 113"/>
                <a:gd name="T14" fmla="*/ 74 w 91"/>
                <a:gd name="T15" fmla="*/ 112 h 113"/>
                <a:gd name="T16" fmla="*/ 91 w 91"/>
                <a:gd name="T17" fmla="*/ 112 h 113"/>
                <a:gd name="T18" fmla="*/ 91 w 91"/>
                <a:gd name="T19" fmla="*/ 69 h 113"/>
                <a:gd name="T20" fmla="*/ 91 w 91"/>
                <a:gd name="T21" fmla="*/ 69 h 113"/>
                <a:gd name="T22" fmla="*/ 91 w 91"/>
                <a:gd name="T23" fmla="*/ 68 h 113"/>
                <a:gd name="T24" fmla="*/ 91 w 91"/>
                <a:gd name="T25" fmla="*/ 0 h 113"/>
                <a:gd name="T26" fmla="*/ 72 w 91"/>
                <a:gd name="T27" fmla="*/ 70 h 113"/>
                <a:gd name="T28" fmla="*/ 43 w 91"/>
                <a:gd name="T29" fmla="*/ 94 h 113"/>
                <a:gd name="T30" fmla="*/ 21 w 91"/>
                <a:gd name="T31" fmla="*/ 72 h 113"/>
                <a:gd name="T32" fmla="*/ 46 w 91"/>
                <a:gd name="T33" fmla="*/ 43 h 113"/>
                <a:gd name="T34" fmla="*/ 72 w 91"/>
                <a:gd name="T35" fmla="*/ 67 h 113"/>
                <a:gd name="T36" fmla="*/ 72 w 91"/>
                <a:gd name="T37" fmla="*/ 7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" h="113">
                  <a:moveTo>
                    <a:pt x="91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68" y="28"/>
                    <a:pt x="55" y="23"/>
                    <a:pt x="43" y="24"/>
                  </a:cubicBezTo>
                  <a:cubicBezTo>
                    <a:pt x="21" y="26"/>
                    <a:pt x="3" y="44"/>
                    <a:pt x="2" y="66"/>
                  </a:cubicBezTo>
                  <a:cubicBezTo>
                    <a:pt x="0" y="92"/>
                    <a:pt x="21" y="113"/>
                    <a:pt x="46" y="113"/>
                  </a:cubicBezTo>
                  <a:cubicBezTo>
                    <a:pt x="56" y="113"/>
                    <a:pt x="69" y="109"/>
                    <a:pt x="74" y="101"/>
                  </a:cubicBezTo>
                  <a:cubicBezTo>
                    <a:pt x="74" y="112"/>
                    <a:pt x="74" y="112"/>
                    <a:pt x="74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8"/>
                  </a:cubicBezTo>
                  <a:lnTo>
                    <a:pt x="91" y="0"/>
                  </a:lnTo>
                  <a:close/>
                  <a:moveTo>
                    <a:pt x="72" y="70"/>
                  </a:moveTo>
                  <a:cubicBezTo>
                    <a:pt x="71" y="85"/>
                    <a:pt x="58" y="96"/>
                    <a:pt x="43" y="94"/>
                  </a:cubicBezTo>
                  <a:cubicBezTo>
                    <a:pt x="32" y="93"/>
                    <a:pt x="22" y="83"/>
                    <a:pt x="21" y="72"/>
                  </a:cubicBezTo>
                  <a:cubicBezTo>
                    <a:pt x="19" y="56"/>
                    <a:pt x="31" y="43"/>
                    <a:pt x="46" y="43"/>
                  </a:cubicBezTo>
                  <a:cubicBezTo>
                    <a:pt x="60" y="43"/>
                    <a:pt x="71" y="54"/>
                    <a:pt x="72" y="67"/>
                  </a:cubicBezTo>
                  <a:lnTo>
                    <a:pt x="72" y="70"/>
                  </a:ln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9912616" y="6239252"/>
              <a:ext cx="338138" cy="336550"/>
            </a:xfrm>
            <a:custGeom>
              <a:avLst/>
              <a:gdLst>
                <a:gd name="T0" fmla="*/ 45 w 90"/>
                <a:gd name="T1" fmla="*/ 0 h 89"/>
                <a:gd name="T2" fmla="*/ 0 w 90"/>
                <a:gd name="T3" fmla="*/ 45 h 89"/>
                <a:gd name="T4" fmla="*/ 45 w 90"/>
                <a:gd name="T5" fmla="*/ 89 h 89"/>
                <a:gd name="T6" fmla="*/ 90 w 90"/>
                <a:gd name="T7" fmla="*/ 45 h 89"/>
                <a:gd name="T8" fmla="*/ 45 w 90"/>
                <a:gd name="T9" fmla="*/ 0 h 89"/>
                <a:gd name="T10" fmla="*/ 45 w 90"/>
                <a:gd name="T11" fmla="*/ 70 h 89"/>
                <a:gd name="T12" fmla="*/ 19 w 90"/>
                <a:gd name="T13" fmla="*/ 45 h 89"/>
                <a:gd name="T14" fmla="*/ 45 w 90"/>
                <a:gd name="T15" fmla="*/ 19 h 89"/>
                <a:gd name="T16" fmla="*/ 71 w 90"/>
                <a:gd name="T17" fmla="*/ 45 h 89"/>
                <a:gd name="T18" fmla="*/ 45 w 90"/>
                <a:gd name="T19" fmla="*/ 7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9">
                  <a:moveTo>
                    <a:pt x="45" y="0"/>
                  </a:moveTo>
                  <a:cubicBezTo>
                    <a:pt x="20" y="0"/>
                    <a:pt x="0" y="20"/>
                    <a:pt x="0" y="45"/>
                  </a:cubicBezTo>
                  <a:cubicBezTo>
                    <a:pt x="0" y="69"/>
                    <a:pt x="20" y="89"/>
                    <a:pt x="45" y="89"/>
                  </a:cubicBezTo>
                  <a:cubicBezTo>
                    <a:pt x="70" y="89"/>
                    <a:pt x="90" y="69"/>
                    <a:pt x="90" y="45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70"/>
                  </a:moveTo>
                  <a:cubicBezTo>
                    <a:pt x="31" y="70"/>
                    <a:pt x="19" y="59"/>
                    <a:pt x="19" y="45"/>
                  </a:cubicBezTo>
                  <a:cubicBezTo>
                    <a:pt x="19" y="30"/>
                    <a:pt x="31" y="19"/>
                    <a:pt x="45" y="19"/>
                  </a:cubicBezTo>
                  <a:cubicBezTo>
                    <a:pt x="59" y="19"/>
                    <a:pt x="71" y="30"/>
                    <a:pt x="71" y="45"/>
                  </a:cubicBezTo>
                  <a:cubicBezTo>
                    <a:pt x="71" y="59"/>
                    <a:pt x="59" y="70"/>
                    <a:pt x="45" y="70"/>
                  </a:cubicBezTo>
                  <a:close/>
                </a:path>
              </a:pathLst>
            </a:custGeom>
            <a:solidFill>
              <a:srgbClr val="000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31478" y="6375051"/>
            <a:ext cx="396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cap="all" baseline="0">
                <a:solidFill>
                  <a:srgbClr val="8B8A8D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xxLanguageTextBox">
            <a:extLst>
              <a:ext uri="{FF2B5EF4-FFF2-40B4-BE49-F238E27FC236}">
                <a16:creationId xmlns:a16="http://schemas.microsoft.com/office/drawing/2014/main" id="{B64BA65D-791E-492D-B8CB-7FAFAAF3EAFC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5" name="MSIPCMContentMarking" descr="{&quot;HashCode&quot;:1071427657,&quot;Placement&quot;:&quot;Footer&quot;,&quot;Top&quot;:519.467957,&quot;Left&quot;:444.409119,&quot;SlideWidth&quot;:960,&quot;SlideHeight&quot;:540}">
            <a:extLst>
              <a:ext uri="{FF2B5EF4-FFF2-40B4-BE49-F238E27FC236}">
                <a16:creationId xmlns:a16="http://schemas.microsoft.com/office/drawing/2014/main" id="{5E573066-6AEB-45C6-BF0F-3A5DE91EDD32}"/>
              </a:ext>
            </a:extLst>
          </p:cNvPr>
          <p:cNvSpPr txBox="1"/>
          <p:nvPr userDrawn="1"/>
        </p:nvSpPr>
        <p:spPr>
          <a:xfrm>
            <a:off x="5643996" y="6597243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Confidential</a:t>
            </a:r>
            <a:endParaRPr lang="en-GB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556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737" r:id="rId3"/>
    <p:sldLayoutId id="2147483652" r:id="rId4"/>
    <p:sldLayoutId id="2147483738" r:id="rId5"/>
    <p:sldLayoutId id="2147483663" r:id="rId6"/>
    <p:sldLayoutId id="2147483655" r:id="rId7"/>
    <p:sldLayoutId id="2147483660" r:id="rId8"/>
    <p:sldLayoutId id="2147483724" r:id="rId9"/>
    <p:sldLayoutId id="2147483725" r:id="rId10"/>
    <p:sldLayoutId id="2147483735" r:id="rId11"/>
    <p:sldLayoutId id="2147483736" r:id="rId12"/>
    <p:sldLayoutId id="2147483742" r:id="rId13"/>
    <p:sldLayoutId id="2147483728" r:id="rId14"/>
    <p:sldLayoutId id="2147483726" r:id="rId15"/>
    <p:sldLayoutId id="2147483740" r:id="rId16"/>
    <p:sldLayoutId id="2147483730" r:id="rId17"/>
    <p:sldLayoutId id="2147483729" r:id="rId18"/>
    <p:sldLayoutId id="2147483732" r:id="rId19"/>
    <p:sldLayoutId id="2147483713" r:id="rId20"/>
    <p:sldLayoutId id="2147483741" r:id="rId21"/>
    <p:sldLayoutId id="2147483720" r:id="rId22"/>
    <p:sldLayoutId id="2147483731" r:id="rId23"/>
    <p:sldLayoutId id="2147483739" r:id="rId24"/>
    <p:sldLayoutId id="2147483733" r:id="rId25"/>
  </p:sldLayoutIdLst>
  <p:hf hdr="0" ftr="0" dt="0"/>
  <p:txStyles>
    <p:titleStyle>
      <a:lvl1pPr algn="l" defTabSz="1088776" rtl="0" eaLnBrk="1" latinLnBrk="0" hangingPunct="1"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15487" indent="-215487" algn="l" defTabSz="1088776" rtl="0" eaLnBrk="1" latinLnBrk="0" hangingPunct="1">
        <a:spcBef>
          <a:spcPts val="12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71517" indent="-214326" algn="l" defTabSz="1088776" rtl="0" eaLnBrk="1" latinLnBrk="0" hangingPunct="1">
        <a:spcBef>
          <a:spcPts val="0"/>
        </a:spcBef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728708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85900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43091" indent="-214326" algn="l" defTabSz="1088776" rtl="0" eaLnBrk="1" latinLnBrk="0" hangingPunct="1">
        <a:spcBef>
          <a:spcPts val="0"/>
        </a:spcBef>
        <a:buFont typeface="Arial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994134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8522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910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7298" indent="-272194" algn="l" defTabSz="108877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38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77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16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552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940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328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0716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104" algn="l" defTabSz="108877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647999" y="1338263"/>
            <a:ext cx="8456812" cy="750221"/>
          </a:xfrm>
        </p:spPr>
        <p:txBody>
          <a:bodyPr/>
          <a:lstStyle/>
          <a:p>
            <a:r>
              <a:rPr lang="en-GB" dirty="0"/>
              <a:t>Legal Aspects of Finance</a:t>
            </a:r>
            <a:br>
              <a:rPr lang="en-GB" dirty="0"/>
            </a:br>
            <a:endParaRPr lang="en-GB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ika Reunanen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24.9.2019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FF52588-AE1C-4122-98EA-5417E471C5F7}"/>
              </a:ext>
            </a:extLst>
          </p:cNvPr>
          <p:cNvSpPr txBox="1"/>
          <p:nvPr/>
        </p:nvSpPr>
        <p:spPr>
          <a:xfrm>
            <a:off x="7587917" y="2808000"/>
            <a:ext cx="4607258" cy="3827931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endParaRPr lang="fi-FI" sz="12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C2E4A11-505D-4327-862F-56787A385C45}"/>
              </a:ext>
            </a:extLst>
          </p:cNvPr>
          <p:cNvSpPr txBox="1"/>
          <p:nvPr/>
        </p:nvSpPr>
        <p:spPr>
          <a:xfrm flipH="1">
            <a:off x="401053" y="433137"/>
            <a:ext cx="2085472" cy="54569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endParaRPr lang="fi-FI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39145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9" name="Object 35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59" name="Object 35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Bildobjekt 4" descr="map_nordics_4.jp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629" y="0"/>
            <a:ext cx="12207804" cy="685958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BCCD3-0010-4FBA-B965-2126ADC31932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8B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8B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ordea is a customer driven bank centred in the Nordics with global reach</a:t>
            </a:r>
          </a:p>
        </p:txBody>
      </p:sp>
      <p:sp>
        <p:nvSpPr>
          <p:cNvPr id="283" name="TextBox 282"/>
          <p:cNvSpPr txBox="1"/>
          <p:nvPr/>
        </p:nvSpPr>
        <p:spPr>
          <a:xfrm>
            <a:off x="8618599" y="5471296"/>
            <a:ext cx="166113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9 % of the managers are women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84" name="Group 283"/>
          <p:cNvGrpSpPr/>
          <p:nvPr/>
        </p:nvGrpSpPr>
        <p:grpSpPr>
          <a:xfrm>
            <a:off x="9977184" y="5160389"/>
            <a:ext cx="1458457" cy="1117603"/>
            <a:chOff x="5331586" y="8331429"/>
            <a:chExt cx="1717100" cy="1282240"/>
          </a:xfrm>
        </p:grpSpPr>
        <p:graphicFrame>
          <p:nvGraphicFramePr>
            <p:cNvPr id="285" name="Chart 284"/>
            <p:cNvGraphicFramePr/>
            <p:nvPr>
              <p:extLst/>
            </p:nvPr>
          </p:nvGraphicFramePr>
          <p:xfrm>
            <a:off x="5331586" y="8331429"/>
            <a:ext cx="1717100" cy="128224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286" name="Oval 285"/>
            <p:cNvSpPr/>
            <p:nvPr/>
          </p:nvSpPr>
          <p:spPr>
            <a:xfrm>
              <a:off x="5915816" y="8698229"/>
              <a:ext cx="548640" cy="548640"/>
            </a:xfrm>
            <a:prstGeom prst="ellipse">
              <a:avLst/>
            </a:prstGeom>
            <a:solidFill>
              <a:srgbClr val="FBD9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7" name="TextBox 286"/>
            <p:cNvSpPr txBox="1"/>
            <p:nvPr/>
          </p:nvSpPr>
          <p:spPr>
            <a:xfrm>
              <a:off x="5821836" y="8778335"/>
              <a:ext cx="736601" cy="38842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b="1" dirty="0">
                  <a:solidFill>
                    <a:srgbClr val="0000A0"/>
                  </a:solidFill>
                  <a:latin typeface="Arial"/>
                </a:rPr>
                <a:t>39</a:t>
              </a: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A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%</a:t>
              </a:r>
            </a:p>
          </p:txBody>
        </p:sp>
      </p:grpSp>
      <p:sp>
        <p:nvSpPr>
          <p:cNvPr id="288" name="TextBox 287"/>
          <p:cNvSpPr txBox="1"/>
          <p:nvPr/>
        </p:nvSpPr>
        <p:spPr>
          <a:xfrm>
            <a:off x="1455736" y="2187626"/>
            <a:ext cx="26710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.0 EURbn</a:t>
            </a:r>
          </a:p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ll year income</a:t>
            </a:r>
          </a:p>
        </p:txBody>
      </p:sp>
      <p:sp>
        <p:nvSpPr>
          <p:cNvPr id="289" name="TextBox 288"/>
          <p:cNvSpPr txBox="1"/>
          <p:nvPr/>
        </p:nvSpPr>
        <p:spPr>
          <a:xfrm>
            <a:off x="4836189" y="1864790"/>
            <a:ext cx="25227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51.4 EURbn</a:t>
            </a:r>
          </a:p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ets</a:t>
            </a:r>
          </a:p>
        </p:txBody>
      </p:sp>
      <p:sp>
        <p:nvSpPr>
          <p:cNvPr id="290" name="TextBox 289"/>
          <p:cNvSpPr txBox="1"/>
          <p:nvPr/>
        </p:nvSpPr>
        <p:spPr>
          <a:xfrm>
            <a:off x="8042141" y="2095293"/>
            <a:ext cx="26979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~ 30 EURbn</a:t>
            </a:r>
          </a:p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ket capitalisation</a:t>
            </a:r>
          </a:p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top-10 universal bank in Europe</a:t>
            </a:r>
          </a:p>
        </p:txBody>
      </p:sp>
      <p:sp>
        <p:nvSpPr>
          <p:cNvPr id="291" name="TextBox 290"/>
          <p:cNvSpPr txBox="1"/>
          <p:nvPr/>
        </p:nvSpPr>
        <p:spPr>
          <a:xfrm>
            <a:off x="3735959" y="2601196"/>
            <a:ext cx="4723257" cy="5001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ets under management, 283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URbn</a:t>
            </a:r>
          </a:p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on equity tier 1 capital ratio,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5.5%</a:t>
            </a: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2" name="TextBox 291"/>
          <p:cNvSpPr txBox="1"/>
          <p:nvPr/>
        </p:nvSpPr>
        <p:spPr>
          <a:xfrm>
            <a:off x="1211657" y="3434516"/>
            <a:ext cx="224134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100" b="1" i="0" u="none" strike="noStrike" kern="1200" cap="none" spc="0" normalizeH="0" baseline="0" noProof="0" dirty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~ 570,000</a:t>
            </a:r>
          </a:p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rporate customers</a:t>
            </a:r>
          </a:p>
        </p:txBody>
      </p:sp>
      <p:sp>
        <p:nvSpPr>
          <p:cNvPr id="294" name="TextBox 293"/>
          <p:cNvSpPr txBox="1"/>
          <p:nvPr/>
        </p:nvSpPr>
        <p:spPr>
          <a:xfrm>
            <a:off x="8465064" y="3434516"/>
            <a:ext cx="224134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100" b="1" i="0" u="none" strike="noStrike" kern="1200" cap="none" spc="0" normalizeH="0" baseline="0" noProof="0" dirty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~9.5 million</a:t>
            </a:r>
          </a:p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usehold customers</a:t>
            </a:r>
          </a:p>
        </p:txBody>
      </p:sp>
      <p:sp>
        <p:nvSpPr>
          <p:cNvPr id="295" name="TextBox 294"/>
          <p:cNvSpPr txBox="1"/>
          <p:nvPr/>
        </p:nvSpPr>
        <p:spPr>
          <a:xfrm>
            <a:off x="2078578" y="4562936"/>
            <a:ext cx="224134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100" b="1" i="0" u="none" strike="noStrike" kern="1200" cap="none" spc="0" normalizeH="0" baseline="0" noProof="0" dirty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~</a:t>
            </a:r>
            <a:r>
              <a:rPr lang="en-GB" b="1" dirty="0">
                <a:solidFill>
                  <a:srgbClr val="0000A0"/>
                </a:solidFill>
                <a:latin typeface="Arial"/>
              </a:rPr>
              <a:t>29</a:t>
            </a:r>
            <a:r>
              <a:rPr kumimoji="0" lang="en-GB" sz="2100" b="1" i="0" u="none" strike="noStrike" kern="1200" cap="none" spc="0" normalizeH="0" baseline="0" noProof="0" dirty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000</a:t>
            </a:r>
          </a:p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mber of employees (FTEs)</a:t>
            </a:r>
          </a:p>
        </p:txBody>
      </p:sp>
      <p:sp>
        <p:nvSpPr>
          <p:cNvPr id="296" name="TextBox 295"/>
          <p:cNvSpPr txBox="1"/>
          <p:nvPr/>
        </p:nvSpPr>
        <p:spPr>
          <a:xfrm>
            <a:off x="7192992" y="4562936"/>
            <a:ext cx="224134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1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~</a:t>
            </a:r>
            <a:r>
              <a:rPr lang="en-GB" b="1" dirty="0">
                <a:solidFill>
                  <a:schemeClr val="bg2"/>
                </a:solidFill>
                <a:latin typeface="Arial"/>
              </a:rPr>
              <a:t>506</a:t>
            </a:r>
            <a:r>
              <a:rPr kumimoji="0" lang="en-GB" sz="21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anches</a:t>
            </a:r>
          </a:p>
        </p:txBody>
      </p:sp>
      <p:grpSp>
        <p:nvGrpSpPr>
          <p:cNvPr id="297" name="Group 296"/>
          <p:cNvGrpSpPr/>
          <p:nvPr/>
        </p:nvGrpSpPr>
        <p:grpSpPr>
          <a:xfrm>
            <a:off x="715457" y="5142184"/>
            <a:ext cx="1450205" cy="1004423"/>
            <a:chOff x="939994" y="4844067"/>
            <a:chExt cx="1450205" cy="1004423"/>
          </a:xfrm>
        </p:grpSpPr>
        <p:sp>
          <p:nvSpPr>
            <p:cNvPr id="298" name="Freeform 25"/>
            <p:cNvSpPr>
              <a:spLocks noEditPoints="1"/>
            </p:cNvSpPr>
            <p:nvPr/>
          </p:nvSpPr>
          <p:spPr bwMode="auto">
            <a:xfrm>
              <a:off x="1800075" y="4844067"/>
              <a:ext cx="288000" cy="684000"/>
            </a:xfrm>
            <a:custGeom>
              <a:avLst/>
              <a:gdLst>
                <a:gd name="T0" fmla="*/ 27 w 93"/>
                <a:gd name="T1" fmla="*/ 19 h 235"/>
                <a:gd name="T2" fmla="*/ 47 w 93"/>
                <a:gd name="T3" fmla="*/ 0 h 235"/>
                <a:gd name="T4" fmla="*/ 66 w 93"/>
                <a:gd name="T5" fmla="*/ 19 h 235"/>
                <a:gd name="T6" fmla="*/ 47 w 93"/>
                <a:gd name="T7" fmla="*/ 39 h 235"/>
                <a:gd name="T8" fmla="*/ 27 w 93"/>
                <a:gd name="T9" fmla="*/ 19 h 235"/>
                <a:gd name="T10" fmla="*/ 92 w 93"/>
                <a:gd name="T11" fmla="*/ 128 h 235"/>
                <a:gd name="T12" fmla="*/ 83 w 93"/>
                <a:gd name="T13" fmla="*/ 69 h 235"/>
                <a:gd name="T14" fmla="*/ 51 w 93"/>
                <a:gd name="T15" fmla="*/ 43 h 235"/>
                <a:gd name="T16" fmla="*/ 43 w 93"/>
                <a:gd name="T17" fmla="*/ 43 h 235"/>
                <a:gd name="T18" fmla="*/ 10 w 93"/>
                <a:gd name="T19" fmla="*/ 69 h 235"/>
                <a:gd name="T20" fmla="*/ 1 w 93"/>
                <a:gd name="T21" fmla="*/ 128 h 235"/>
                <a:gd name="T22" fmla="*/ 5 w 93"/>
                <a:gd name="T23" fmla="*/ 134 h 235"/>
                <a:gd name="T24" fmla="*/ 11 w 93"/>
                <a:gd name="T25" fmla="*/ 130 h 235"/>
                <a:gd name="T26" fmla="*/ 23 w 93"/>
                <a:gd name="T27" fmla="*/ 78 h 235"/>
                <a:gd name="T28" fmla="*/ 24 w 93"/>
                <a:gd name="T29" fmla="*/ 77 h 235"/>
                <a:gd name="T30" fmla="*/ 26 w 93"/>
                <a:gd name="T31" fmla="*/ 78 h 235"/>
                <a:gd name="T32" fmla="*/ 26 w 93"/>
                <a:gd name="T33" fmla="*/ 128 h 235"/>
                <a:gd name="T34" fmla="*/ 25 w 93"/>
                <a:gd name="T35" fmla="*/ 128 h 235"/>
                <a:gd name="T36" fmla="*/ 20 w 93"/>
                <a:gd name="T37" fmla="*/ 228 h 235"/>
                <a:gd name="T38" fmla="*/ 26 w 93"/>
                <a:gd name="T39" fmla="*/ 235 h 235"/>
                <a:gd name="T40" fmla="*/ 32 w 93"/>
                <a:gd name="T41" fmla="*/ 229 h 235"/>
                <a:gd name="T42" fmla="*/ 46 w 93"/>
                <a:gd name="T43" fmla="*/ 138 h 235"/>
                <a:gd name="T44" fmla="*/ 48 w 93"/>
                <a:gd name="T45" fmla="*/ 138 h 235"/>
                <a:gd name="T46" fmla="*/ 61 w 93"/>
                <a:gd name="T47" fmla="*/ 229 h 235"/>
                <a:gd name="T48" fmla="*/ 68 w 93"/>
                <a:gd name="T49" fmla="*/ 235 h 235"/>
                <a:gd name="T50" fmla="*/ 73 w 93"/>
                <a:gd name="T51" fmla="*/ 228 h 235"/>
                <a:gd name="T52" fmla="*/ 68 w 93"/>
                <a:gd name="T53" fmla="*/ 128 h 235"/>
                <a:gd name="T54" fmla="*/ 68 w 93"/>
                <a:gd name="T55" fmla="*/ 128 h 235"/>
                <a:gd name="T56" fmla="*/ 68 w 93"/>
                <a:gd name="T57" fmla="*/ 78 h 235"/>
                <a:gd name="T58" fmla="*/ 69 w 93"/>
                <a:gd name="T59" fmla="*/ 77 h 235"/>
                <a:gd name="T60" fmla="*/ 70 w 93"/>
                <a:gd name="T61" fmla="*/ 78 h 235"/>
                <a:gd name="T62" fmla="*/ 82 w 93"/>
                <a:gd name="T63" fmla="*/ 130 h 235"/>
                <a:gd name="T64" fmla="*/ 88 w 93"/>
                <a:gd name="T65" fmla="*/ 134 h 235"/>
                <a:gd name="T66" fmla="*/ 92 w 93"/>
                <a:gd name="T67" fmla="*/ 128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3" h="235">
                  <a:moveTo>
                    <a:pt x="27" y="19"/>
                  </a:moveTo>
                  <a:cubicBezTo>
                    <a:pt x="27" y="9"/>
                    <a:pt x="36" y="0"/>
                    <a:pt x="47" y="0"/>
                  </a:cubicBezTo>
                  <a:cubicBezTo>
                    <a:pt x="57" y="0"/>
                    <a:pt x="66" y="9"/>
                    <a:pt x="66" y="19"/>
                  </a:cubicBezTo>
                  <a:cubicBezTo>
                    <a:pt x="66" y="30"/>
                    <a:pt x="57" y="39"/>
                    <a:pt x="47" y="39"/>
                  </a:cubicBezTo>
                  <a:cubicBezTo>
                    <a:pt x="36" y="39"/>
                    <a:pt x="27" y="30"/>
                    <a:pt x="27" y="19"/>
                  </a:cubicBezTo>
                  <a:close/>
                  <a:moveTo>
                    <a:pt x="92" y="128"/>
                  </a:moveTo>
                  <a:cubicBezTo>
                    <a:pt x="83" y="69"/>
                    <a:pt x="83" y="69"/>
                    <a:pt x="83" y="69"/>
                  </a:cubicBezTo>
                  <a:cubicBezTo>
                    <a:pt x="81" y="54"/>
                    <a:pt x="72" y="43"/>
                    <a:pt x="51" y="43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21" y="43"/>
                    <a:pt x="12" y="54"/>
                    <a:pt x="10" y="69"/>
                  </a:cubicBezTo>
                  <a:cubicBezTo>
                    <a:pt x="1" y="128"/>
                    <a:pt x="1" y="128"/>
                    <a:pt x="1" y="128"/>
                  </a:cubicBezTo>
                  <a:cubicBezTo>
                    <a:pt x="0" y="131"/>
                    <a:pt x="2" y="134"/>
                    <a:pt x="5" y="134"/>
                  </a:cubicBezTo>
                  <a:cubicBezTo>
                    <a:pt x="8" y="135"/>
                    <a:pt x="11" y="133"/>
                    <a:pt x="11" y="130"/>
                  </a:cubicBezTo>
                  <a:cubicBezTo>
                    <a:pt x="23" y="78"/>
                    <a:pt x="23" y="78"/>
                    <a:pt x="23" y="78"/>
                  </a:cubicBezTo>
                  <a:cubicBezTo>
                    <a:pt x="23" y="77"/>
                    <a:pt x="23" y="77"/>
                    <a:pt x="24" y="77"/>
                  </a:cubicBezTo>
                  <a:cubicBezTo>
                    <a:pt x="25" y="77"/>
                    <a:pt x="26" y="77"/>
                    <a:pt x="26" y="78"/>
                  </a:cubicBezTo>
                  <a:cubicBezTo>
                    <a:pt x="26" y="128"/>
                    <a:pt x="26" y="128"/>
                    <a:pt x="26" y="128"/>
                  </a:cubicBezTo>
                  <a:cubicBezTo>
                    <a:pt x="25" y="128"/>
                    <a:pt x="25" y="128"/>
                    <a:pt x="25" y="128"/>
                  </a:cubicBezTo>
                  <a:cubicBezTo>
                    <a:pt x="20" y="228"/>
                    <a:pt x="20" y="228"/>
                    <a:pt x="20" y="228"/>
                  </a:cubicBezTo>
                  <a:cubicBezTo>
                    <a:pt x="20" y="232"/>
                    <a:pt x="22" y="235"/>
                    <a:pt x="26" y="235"/>
                  </a:cubicBezTo>
                  <a:cubicBezTo>
                    <a:pt x="29" y="235"/>
                    <a:pt x="32" y="233"/>
                    <a:pt x="32" y="229"/>
                  </a:cubicBezTo>
                  <a:cubicBezTo>
                    <a:pt x="46" y="138"/>
                    <a:pt x="46" y="138"/>
                    <a:pt x="46" y="138"/>
                  </a:cubicBezTo>
                  <a:cubicBezTo>
                    <a:pt x="46" y="134"/>
                    <a:pt x="47" y="134"/>
                    <a:pt x="48" y="138"/>
                  </a:cubicBezTo>
                  <a:cubicBezTo>
                    <a:pt x="61" y="229"/>
                    <a:pt x="61" y="229"/>
                    <a:pt x="61" y="229"/>
                  </a:cubicBezTo>
                  <a:cubicBezTo>
                    <a:pt x="61" y="233"/>
                    <a:pt x="64" y="235"/>
                    <a:pt x="68" y="235"/>
                  </a:cubicBezTo>
                  <a:cubicBezTo>
                    <a:pt x="71" y="235"/>
                    <a:pt x="74" y="232"/>
                    <a:pt x="73" y="228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8" y="78"/>
                    <a:pt x="68" y="78"/>
                    <a:pt x="68" y="78"/>
                  </a:cubicBezTo>
                  <a:cubicBezTo>
                    <a:pt x="68" y="77"/>
                    <a:pt x="68" y="77"/>
                    <a:pt x="69" y="77"/>
                  </a:cubicBezTo>
                  <a:cubicBezTo>
                    <a:pt x="70" y="77"/>
                    <a:pt x="70" y="77"/>
                    <a:pt x="70" y="78"/>
                  </a:cubicBezTo>
                  <a:cubicBezTo>
                    <a:pt x="82" y="130"/>
                    <a:pt x="82" y="130"/>
                    <a:pt x="82" y="130"/>
                  </a:cubicBezTo>
                  <a:cubicBezTo>
                    <a:pt x="82" y="133"/>
                    <a:pt x="85" y="135"/>
                    <a:pt x="88" y="134"/>
                  </a:cubicBezTo>
                  <a:cubicBezTo>
                    <a:pt x="91" y="134"/>
                    <a:pt x="93" y="131"/>
                    <a:pt x="92" y="12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9" name="Freeform 26"/>
            <p:cNvSpPr>
              <a:spLocks noEditPoints="1"/>
            </p:cNvSpPr>
            <p:nvPr/>
          </p:nvSpPr>
          <p:spPr bwMode="auto">
            <a:xfrm>
              <a:off x="1269820" y="4844067"/>
              <a:ext cx="288000" cy="684000"/>
            </a:xfrm>
            <a:custGeom>
              <a:avLst/>
              <a:gdLst>
                <a:gd name="T0" fmla="*/ 23 w 84"/>
                <a:gd name="T1" fmla="*/ 20 h 235"/>
                <a:gd name="T2" fmla="*/ 42 w 84"/>
                <a:gd name="T3" fmla="*/ 0 h 235"/>
                <a:gd name="T4" fmla="*/ 61 w 84"/>
                <a:gd name="T5" fmla="*/ 20 h 235"/>
                <a:gd name="T6" fmla="*/ 42 w 84"/>
                <a:gd name="T7" fmla="*/ 39 h 235"/>
                <a:gd name="T8" fmla="*/ 23 w 84"/>
                <a:gd name="T9" fmla="*/ 20 h 235"/>
                <a:gd name="T10" fmla="*/ 84 w 84"/>
                <a:gd name="T11" fmla="*/ 128 h 235"/>
                <a:gd name="T12" fmla="*/ 74 w 84"/>
                <a:gd name="T13" fmla="*/ 69 h 235"/>
                <a:gd name="T14" fmla="*/ 42 w 84"/>
                <a:gd name="T15" fmla="*/ 43 h 235"/>
                <a:gd name="T16" fmla="*/ 42 w 84"/>
                <a:gd name="T17" fmla="*/ 43 h 235"/>
                <a:gd name="T18" fmla="*/ 10 w 84"/>
                <a:gd name="T19" fmla="*/ 69 h 235"/>
                <a:gd name="T20" fmla="*/ 0 w 84"/>
                <a:gd name="T21" fmla="*/ 128 h 235"/>
                <a:gd name="T22" fmla="*/ 5 w 84"/>
                <a:gd name="T23" fmla="*/ 134 h 235"/>
                <a:gd name="T24" fmla="*/ 11 w 84"/>
                <a:gd name="T25" fmla="*/ 130 h 235"/>
                <a:gd name="T26" fmla="*/ 22 w 84"/>
                <a:gd name="T27" fmla="*/ 78 h 235"/>
                <a:gd name="T28" fmla="*/ 24 w 84"/>
                <a:gd name="T29" fmla="*/ 77 h 235"/>
                <a:gd name="T30" fmla="*/ 25 w 84"/>
                <a:gd name="T31" fmla="*/ 78 h 235"/>
                <a:gd name="T32" fmla="*/ 25 w 84"/>
                <a:gd name="T33" fmla="*/ 100 h 235"/>
                <a:gd name="T34" fmla="*/ 6 w 84"/>
                <a:gd name="T35" fmla="*/ 160 h 235"/>
                <a:gd name="T36" fmla="*/ 24 w 84"/>
                <a:gd name="T37" fmla="*/ 160 h 235"/>
                <a:gd name="T38" fmla="*/ 26 w 84"/>
                <a:gd name="T39" fmla="*/ 230 h 235"/>
                <a:gd name="T40" fmla="*/ 32 w 84"/>
                <a:gd name="T41" fmla="*/ 235 h 235"/>
                <a:gd name="T42" fmla="*/ 37 w 84"/>
                <a:gd name="T43" fmla="*/ 230 h 235"/>
                <a:gd name="T44" fmla="*/ 40 w 84"/>
                <a:gd name="T45" fmla="*/ 160 h 235"/>
                <a:gd name="T46" fmla="*/ 44 w 84"/>
                <a:gd name="T47" fmla="*/ 160 h 235"/>
                <a:gd name="T48" fmla="*/ 47 w 84"/>
                <a:gd name="T49" fmla="*/ 230 h 235"/>
                <a:gd name="T50" fmla="*/ 52 w 84"/>
                <a:gd name="T51" fmla="*/ 235 h 235"/>
                <a:gd name="T52" fmla="*/ 57 w 84"/>
                <a:gd name="T53" fmla="*/ 230 h 235"/>
                <a:gd name="T54" fmla="*/ 60 w 84"/>
                <a:gd name="T55" fmla="*/ 160 h 235"/>
                <a:gd name="T56" fmla="*/ 78 w 84"/>
                <a:gd name="T57" fmla="*/ 160 h 235"/>
                <a:gd name="T58" fmla="*/ 59 w 84"/>
                <a:gd name="T59" fmla="*/ 100 h 235"/>
                <a:gd name="T60" fmla="*/ 59 w 84"/>
                <a:gd name="T61" fmla="*/ 78 h 235"/>
                <a:gd name="T62" fmla="*/ 61 w 84"/>
                <a:gd name="T63" fmla="*/ 77 h 235"/>
                <a:gd name="T64" fmla="*/ 62 w 84"/>
                <a:gd name="T65" fmla="*/ 78 h 235"/>
                <a:gd name="T66" fmla="*/ 73 w 84"/>
                <a:gd name="T67" fmla="*/ 130 h 235"/>
                <a:gd name="T68" fmla="*/ 80 w 84"/>
                <a:gd name="T69" fmla="*/ 134 h 235"/>
                <a:gd name="T70" fmla="*/ 84 w 84"/>
                <a:gd name="T71" fmla="*/ 128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4" h="235">
                  <a:moveTo>
                    <a:pt x="23" y="20"/>
                  </a:moveTo>
                  <a:cubicBezTo>
                    <a:pt x="23" y="9"/>
                    <a:pt x="31" y="0"/>
                    <a:pt x="42" y="0"/>
                  </a:cubicBezTo>
                  <a:cubicBezTo>
                    <a:pt x="53" y="0"/>
                    <a:pt x="61" y="9"/>
                    <a:pt x="61" y="20"/>
                  </a:cubicBezTo>
                  <a:cubicBezTo>
                    <a:pt x="61" y="30"/>
                    <a:pt x="53" y="39"/>
                    <a:pt x="42" y="39"/>
                  </a:cubicBezTo>
                  <a:cubicBezTo>
                    <a:pt x="31" y="39"/>
                    <a:pt x="23" y="30"/>
                    <a:pt x="23" y="20"/>
                  </a:cubicBezTo>
                  <a:close/>
                  <a:moveTo>
                    <a:pt x="84" y="128"/>
                  </a:moveTo>
                  <a:cubicBezTo>
                    <a:pt x="74" y="69"/>
                    <a:pt x="74" y="69"/>
                    <a:pt x="74" y="69"/>
                  </a:cubicBezTo>
                  <a:cubicBezTo>
                    <a:pt x="73" y="54"/>
                    <a:pt x="59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25" y="43"/>
                    <a:pt x="12" y="54"/>
                    <a:pt x="10" y="69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31"/>
                    <a:pt x="2" y="134"/>
                    <a:pt x="5" y="134"/>
                  </a:cubicBezTo>
                  <a:cubicBezTo>
                    <a:pt x="7" y="135"/>
                    <a:pt x="10" y="133"/>
                    <a:pt x="11" y="130"/>
                  </a:cubicBezTo>
                  <a:cubicBezTo>
                    <a:pt x="22" y="78"/>
                    <a:pt x="22" y="78"/>
                    <a:pt x="22" y="78"/>
                  </a:cubicBezTo>
                  <a:cubicBezTo>
                    <a:pt x="22" y="78"/>
                    <a:pt x="23" y="77"/>
                    <a:pt x="24" y="77"/>
                  </a:cubicBezTo>
                  <a:cubicBezTo>
                    <a:pt x="24" y="77"/>
                    <a:pt x="25" y="78"/>
                    <a:pt x="25" y="78"/>
                  </a:cubicBezTo>
                  <a:cubicBezTo>
                    <a:pt x="25" y="100"/>
                    <a:pt x="25" y="100"/>
                    <a:pt x="25" y="100"/>
                  </a:cubicBezTo>
                  <a:cubicBezTo>
                    <a:pt x="6" y="160"/>
                    <a:pt x="6" y="160"/>
                    <a:pt x="6" y="160"/>
                  </a:cubicBezTo>
                  <a:cubicBezTo>
                    <a:pt x="24" y="160"/>
                    <a:pt x="24" y="160"/>
                    <a:pt x="24" y="160"/>
                  </a:cubicBezTo>
                  <a:cubicBezTo>
                    <a:pt x="26" y="230"/>
                    <a:pt x="26" y="230"/>
                    <a:pt x="26" y="230"/>
                  </a:cubicBezTo>
                  <a:cubicBezTo>
                    <a:pt x="26" y="233"/>
                    <a:pt x="29" y="235"/>
                    <a:pt x="32" y="235"/>
                  </a:cubicBezTo>
                  <a:cubicBezTo>
                    <a:pt x="35" y="235"/>
                    <a:pt x="37" y="233"/>
                    <a:pt x="37" y="230"/>
                  </a:cubicBezTo>
                  <a:cubicBezTo>
                    <a:pt x="40" y="160"/>
                    <a:pt x="40" y="160"/>
                    <a:pt x="40" y="160"/>
                  </a:cubicBezTo>
                  <a:cubicBezTo>
                    <a:pt x="44" y="160"/>
                    <a:pt x="44" y="160"/>
                    <a:pt x="44" y="160"/>
                  </a:cubicBezTo>
                  <a:cubicBezTo>
                    <a:pt x="47" y="230"/>
                    <a:pt x="47" y="230"/>
                    <a:pt x="47" y="230"/>
                  </a:cubicBezTo>
                  <a:cubicBezTo>
                    <a:pt x="47" y="233"/>
                    <a:pt x="49" y="235"/>
                    <a:pt x="52" y="235"/>
                  </a:cubicBezTo>
                  <a:cubicBezTo>
                    <a:pt x="55" y="235"/>
                    <a:pt x="57" y="233"/>
                    <a:pt x="57" y="230"/>
                  </a:cubicBezTo>
                  <a:cubicBezTo>
                    <a:pt x="60" y="160"/>
                    <a:pt x="60" y="160"/>
                    <a:pt x="60" y="160"/>
                  </a:cubicBezTo>
                  <a:cubicBezTo>
                    <a:pt x="78" y="160"/>
                    <a:pt x="78" y="160"/>
                    <a:pt x="78" y="160"/>
                  </a:cubicBezTo>
                  <a:cubicBezTo>
                    <a:pt x="59" y="100"/>
                    <a:pt x="59" y="100"/>
                    <a:pt x="59" y="100"/>
                  </a:cubicBezTo>
                  <a:cubicBezTo>
                    <a:pt x="59" y="78"/>
                    <a:pt x="59" y="78"/>
                    <a:pt x="59" y="78"/>
                  </a:cubicBezTo>
                  <a:cubicBezTo>
                    <a:pt x="59" y="78"/>
                    <a:pt x="60" y="77"/>
                    <a:pt x="61" y="77"/>
                  </a:cubicBezTo>
                  <a:cubicBezTo>
                    <a:pt x="61" y="77"/>
                    <a:pt x="62" y="78"/>
                    <a:pt x="62" y="78"/>
                  </a:cubicBezTo>
                  <a:cubicBezTo>
                    <a:pt x="73" y="130"/>
                    <a:pt x="73" y="130"/>
                    <a:pt x="73" y="130"/>
                  </a:cubicBezTo>
                  <a:cubicBezTo>
                    <a:pt x="74" y="133"/>
                    <a:pt x="77" y="135"/>
                    <a:pt x="80" y="134"/>
                  </a:cubicBezTo>
                  <a:cubicBezTo>
                    <a:pt x="82" y="134"/>
                    <a:pt x="84" y="131"/>
                    <a:pt x="84" y="128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0" name="TextBox 299"/>
            <p:cNvSpPr txBox="1"/>
            <p:nvPr/>
          </p:nvSpPr>
          <p:spPr>
            <a:xfrm>
              <a:off x="1463446" y="5540712"/>
              <a:ext cx="92675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A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8%</a:t>
              </a:r>
              <a:endPara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1" name="TextBox 300"/>
            <p:cNvSpPr txBox="1"/>
            <p:nvPr/>
          </p:nvSpPr>
          <p:spPr>
            <a:xfrm>
              <a:off x="939994" y="5540713"/>
              <a:ext cx="92675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0887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2%</a:t>
              </a:r>
              <a:endPara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02" name="Straight Connector 301"/>
            <p:cNvCxnSpPr/>
            <p:nvPr/>
          </p:nvCxnSpPr>
          <p:spPr>
            <a:xfrm>
              <a:off x="1187371" y="5530894"/>
              <a:ext cx="432000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3" name="Straight Connector 302"/>
            <p:cNvCxnSpPr/>
            <p:nvPr/>
          </p:nvCxnSpPr>
          <p:spPr>
            <a:xfrm>
              <a:off x="1700077" y="5530894"/>
              <a:ext cx="432000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Box 1"/>
          <p:cNvSpPr txBox="1"/>
          <p:nvPr/>
        </p:nvSpPr>
        <p:spPr>
          <a:xfrm>
            <a:off x="1030769" y="6101213"/>
            <a:ext cx="90432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loyees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130196" y="1361849"/>
            <a:ext cx="19347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887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8 full year</a:t>
            </a:r>
          </a:p>
        </p:txBody>
      </p:sp>
    </p:spTree>
    <p:extLst>
      <p:ext uri="{BB962C8B-B14F-4D97-AF65-F5344CB8AC3E}">
        <p14:creationId xmlns:p14="http://schemas.microsoft.com/office/powerpoint/2010/main" val="23347274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9F8F3D-C5E3-4307-9C39-6B761BC473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Education</a:t>
            </a:r>
            <a:r>
              <a:rPr lang="fi-FI" dirty="0"/>
              <a:t> and </a:t>
            </a:r>
            <a:r>
              <a:rPr lang="fi-FI" dirty="0" err="1"/>
              <a:t>professional</a:t>
            </a:r>
            <a:r>
              <a:rPr lang="fi-FI" dirty="0"/>
              <a:t> </a:t>
            </a:r>
            <a:r>
              <a:rPr lang="fi-FI" dirty="0" err="1"/>
              <a:t>experience</a:t>
            </a:r>
            <a:r>
              <a:rPr lang="fi-FI" dirty="0"/>
              <a:t>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402104E-231F-43B2-959F-6AA65FA1C5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4BCCD3-0010-4FBA-B965-2126ADC31932}" type="slidenum">
              <a:rPr lang="en-GB" smtClean="0"/>
              <a:t>3</a:t>
            </a:fld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9803B14-DBEF-47A7-BA22-56077BC97BE4}"/>
              </a:ext>
            </a:extLst>
          </p:cNvPr>
          <p:cNvSpPr txBox="1"/>
          <p:nvPr/>
        </p:nvSpPr>
        <p:spPr>
          <a:xfrm>
            <a:off x="648000" y="1449977"/>
            <a:ext cx="10328564" cy="46532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Aft>
                <a:spcPct val="0"/>
              </a:spcAft>
            </a:pPr>
            <a:endParaRPr lang="en-GB" altLang="en-US" sz="788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base">
              <a:spcAft>
                <a:spcPct val="0"/>
              </a:spcAft>
            </a:pPr>
            <a:endParaRPr lang="en-GB" altLang="en-US" sz="825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base">
              <a:spcAft>
                <a:spcPct val="0"/>
              </a:spcAft>
            </a:pPr>
            <a:endParaRPr lang="en-GB" altLang="en-US" sz="825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base">
              <a:spcAft>
                <a:spcPct val="0"/>
              </a:spcAft>
            </a:pPr>
            <a:r>
              <a:rPr lang="en-GB" altLang="en-US" sz="16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 </a:t>
            </a:r>
          </a:p>
          <a:p>
            <a:pPr indent="-90512">
              <a:tabLst>
                <a:tab pos="643109" algn="l"/>
              </a:tabLst>
            </a:pPr>
            <a:r>
              <a:rPr lang="en-GB" sz="16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	 Doctor of Science (Economics and Business Administration), </a:t>
            </a:r>
            <a:r>
              <a:rPr lang="en-GB" sz="1600" dirty="0" err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nken</a:t>
            </a:r>
            <a:r>
              <a:rPr lang="en-GB" sz="16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hool of Economics</a:t>
            </a:r>
          </a:p>
          <a:p>
            <a:pPr indent="-90512">
              <a:tabLst>
                <a:tab pos="643109" algn="l"/>
              </a:tabLst>
            </a:pPr>
            <a:r>
              <a:rPr lang="en-GB" sz="16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3</a:t>
            </a:r>
            <a:r>
              <a:rPr lang="en-GB" sz="1600" dirty="0">
                <a:solidFill>
                  <a:schemeClr val="bg2"/>
                </a:solidFill>
                <a:latin typeface="Arial" panose="020B0604020202020204" pitchFamily="34" charset="0"/>
              </a:rPr>
              <a:t>	 Master of Business Administration, Helsinki Swedish School of Economics  </a:t>
            </a:r>
          </a:p>
          <a:p>
            <a:pPr>
              <a:tabLst>
                <a:tab pos="643109" algn="l"/>
              </a:tabLst>
            </a:pPr>
            <a:r>
              <a:rPr lang="en-US" altLang="en-US" sz="16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89	 </a:t>
            </a:r>
            <a:r>
              <a:rPr lang="en-GB" sz="1600" dirty="0">
                <a:solidFill>
                  <a:schemeClr val="bg2"/>
                </a:solidFill>
                <a:latin typeface="Arial" panose="020B0604020202020204" pitchFamily="34" charset="0"/>
              </a:rPr>
              <a:t>Master of Laws, University of Helsinki</a:t>
            </a:r>
          </a:p>
          <a:p>
            <a:pPr marL="80984" indent="-171496">
              <a:buAutoNum type="arabicPlain" startAt="2003"/>
              <a:tabLst>
                <a:tab pos="643109" algn="l"/>
              </a:tabLst>
            </a:pPr>
            <a:endParaRPr lang="en-GB" sz="1600" dirty="0">
              <a:solidFill>
                <a:schemeClr val="bg2"/>
              </a:solidFill>
              <a:latin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6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ional experienc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6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rious positions in Nordea Bank and in its predecessor banks since 1988, among other things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l Counsel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 Manager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 Product Manager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dit Manager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 Relationship Manager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6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iance Officer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6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6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ly Head of Group Risk Management and Control Strategy</a:t>
            </a:r>
          </a:p>
          <a:p>
            <a:pPr marL="284400" indent="-28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600" i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ng head of the unit responsible of credit risk appetite framework of Nordea Group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00" i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2" descr="C:\Users\z673013\AppData\Local\Microsoft\Windows\Temporary Internet Files\Content.Outlook\G9KPYO91\FullSizeRender.jpg">
            <a:extLst>
              <a:ext uri="{FF2B5EF4-FFF2-40B4-BE49-F238E27FC236}">
                <a16:creationId xmlns:a16="http://schemas.microsoft.com/office/drawing/2014/main" id="{3CC62646-23A3-4DD3-A741-615CCB30C4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6604" y="587824"/>
            <a:ext cx="1627916" cy="2129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23770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rdea">
  <a:themeElements>
    <a:clrScheme name="Nordea">
      <a:dk1>
        <a:sysClr val="windowText" lastClr="000000"/>
      </a:dk1>
      <a:lt1>
        <a:sysClr val="window" lastClr="FFFFFF"/>
      </a:lt1>
      <a:dk2>
        <a:srgbClr val="00005E"/>
      </a:dk2>
      <a:lt2>
        <a:srgbClr val="0000A0"/>
      </a:lt2>
      <a:accent1>
        <a:srgbClr val="0000A0"/>
      </a:accent1>
      <a:accent2>
        <a:srgbClr val="3399FF"/>
      </a:accent2>
      <a:accent3>
        <a:srgbClr val="99CCFF"/>
      </a:accent3>
      <a:accent4>
        <a:srgbClr val="FBD9CA"/>
      </a:accent4>
      <a:accent5>
        <a:srgbClr val="C9C7C7"/>
      </a:accent5>
      <a:accent6>
        <a:srgbClr val="474748"/>
      </a:accent6>
      <a:hlink>
        <a:srgbClr val="000000"/>
      </a:hlink>
      <a:folHlink>
        <a:srgbClr val="3399FF"/>
      </a:folHlink>
    </a:clrScheme>
    <a:fontScheme name="Norde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8B8A8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>
            <a:solidFill>
              <a:schemeClr val="tx1"/>
            </a:solidFill>
          </a:defRPr>
        </a:defPPr>
      </a:lstStyle>
    </a:txDef>
  </a:objectDefaults>
  <a:extraClrSchemeLst/>
  <a:custClrLst>
    <a:custClr name="Nordea Deep Blue B5">
      <a:srgbClr val="00005E"/>
    </a:custClr>
    <a:custClr name="Nordea Blue B4">
      <a:srgbClr val="0000A0"/>
    </a:custClr>
    <a:custClr name="Nordea Vivid Blue B3">
      <a:srgbClr val="0000FF"/>
    </a:custClr>
    <a:custClr name="Nordea Medium Blue B2">
      <a:srgbClr val="3399FF"/>
    </a:custClr>
    <a:custClr name="Nordea Light Blue B1">
      <a:srgbClr val="99CCFF"/>
    </a:custClr>
    <a:custClr name="Nordea Dark Pink P3">
      <a:srgbClr val="F0C1AE"/>
    </a:custClr>
    <a:custClr name="Nordea Pink P2">
      <a:srgbClr val="FBD9CA"/>
    </a:custClr>
    <a:custClr name="Nordea Light Pink P1">
      <a:srgbClr val="FDECE4"/>
    </a:custClr>
    <a:custClr name="Nordea Dark Gray G4">
      <a:srgbClr val="474748"/>
    </a:custClr>
    <a:custClr name="Nordea Gray G3">
      <a:srgbClr val="8B8A8D"/>
    </a:custClr>
    <a:custClr name="Nordea Medium Gray G2">
      <a:srgbClr val="C9C7C7"/>
    </a:custClr>
    <a:custClr name="Nordea Light Gray G1">
      <a:srgbClr val="E6E4E3"/>
    </a:custClr>
    <a:custClr name="Nordea Accent Red">
      <a:srgbClr val="FF5959"/>
    </a:custClr>
    <a:custClr name="Nordea Accent Yellow">
      <a:srgbClr val="FFE183"/>
    </a:custClr>
    <a:custClr name="Nordea Accent Green">
      <a:srgbClr val="40BFA3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18</TotalTime>
  <Words>186</Words>
  <Application>Microsoft Office PowerPoint</Application>
  <PresentationFormat>Custom</PresentationFormat>
  <Paragraphs>59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Calibri</vt:lpstr>
      <vt:lpstr>Nordea</vt:lpstr>
      <vt:lpstr>think-cell Slide</vt:lpstr>
      <vt:lpstr>Legal Aspects of Finance </vt:lpstr>
      <vt:lpstr>Nordea is a customer driven bank centred in the Nordics with global reach</vt:lpstr>
      <vt:lpstr>Education and professional experience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andover</dc:title>
  <dc:creator>Viertiö, Petri</dc:creator>
  <cp:lastModifiedBy>Mika Reunanen</cp:lastModifiedBy>
  <cp:revision>27</cp:revision>
  <cp:lastPrinted>2019-06-17T11:29:20Z</cp:lastPrinted>
  <dcterms:created xsi:type="dcterms:W3CDTF">2016-03-23T08:04:09Z</dcterms:created>
  <dcterms:modified xsi:type="dcterms:W3CDTF">2019-09-17T06:08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00b7bbd-7ade-49ce-aa5e-23220b76cd08_Enabled">
    <vt:lpwstr>true</vt:lpwstr>
  </property>
  <property fmtid="{D5CDD505-2E9C-101B-9397-08002B2CF9AE}" pid="3" name="MSIP_Label_400b7bbd-7ade-49ce-aa5e-23220b76cd08_SetDate">
    <vt:lpwstr>2019-06-17T09:12:33Z</vt:lpwstr>
  </property>
  <property fmtid="{D5CDD505-2E9C-101B-9397-08002B2CF9AE}" pid="4" name="MSIP_Label_400b7bbd-7ade-49ce-aa5e-23220b76cd08_Method">
    <vt:lpwstr>Standard</vt:lpwstr>
  </property>
  <property fmtid="{D5CDD505-2E9C-101B-9397-08002B2CF9AE}" pid="5" name="MSIP_Label_400b7bbd-7ade-49ce-aa5e-23220b76cd08_Name">
    <vt:lpwstr>Confidential</vt:lpwstr>
  </property>
  <property fmtid="{D5CDD505-2E9C-101B-9397-08002B2CF9AE}" pid="6" name="MSIP_Label_400b7bbd-7ade-49ce-aa5e-23220b76cd08_SiteId">
    <vt:lpwstr>8beccd60-0be6-4025-8e24-ca9ae679e1f4</vt:lpwstr>
  </property>
  <property fmtid="{D5CDD505-2E9C-101B-9397-08002B2CF9AE}" pid="7" name="MSIP_Label_400b7bbd-7ade-49ce-aa5e-23220b76cd08_ActionId">
    <vt:lpwstr>98dd721e-978e-427f-b646-0000bb5a1d7d</vt:lpwstr>
  </property>
  <property fmtid="{D5CDD505-2E9C-101B-9397-08002B2CF9AE}" pid="8" name="MSIP_Label_400b7bbd-7ade-49ce-aa5e-23220b76cd08_ContentBits">
    <vt:lpwstr>2</vt:lpwstr>
  </property>
</Properties>
</file>